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0"/>
  </p:notesMasterIdLst>
  <p:sldIdLst>
    <p:sldId id="778" r:id="rId3"/>
    <p:sldId id="779" r:id="rId4"/>
    <p:sldId id="806" r:id="rId5"/>
    <p:sldId id="808" r:id="rId6"/>
    <p:sldId id="782" r:id="rId7"/>
    <p:sldId id="785" r:id="rId8"/>
    <p:sldId id="810" r:id="rId9"/>
    <p:sldId id="804" r:id="rId11"/>
    <p:sldId id="799" r:id="rId12"/>
  </p:sldIdLst>
  <p:sldSz cx="12192000" cy="6858000"/>
  <p:notesSz cx="6807200" cy="9939020"/>
  <p:defaultTextStyle>
    <a:defPPr>
      <a:defRPr lang="zh-CN"/>
    </a:defPPr>
    <a:lvl1pPr marL="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01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毋孟辉" initials="毋孟辉" lastIdx="1" clrIdx="0"/>
  <p:cmAuthor id="2" name="作者" initials="A" lastIdx="0" clrIdx="1"/>
  <p:cmAuthor id="3" name="lenovo" initials="l" lastIdx="6" clrIdx="2"/>
  <p:cmAuthor id="4" name="Administrator" initials="A" lastIdx="4" clrIdx="3"/>
  <p:cmAuthor id="5" name="宋洁然" initials="宋" lastIdx="2" clrIdx="1"/>
  <p:cmAuthor id="6" name="ming qiu" initials="m" lastIdx="17" clrIdx="1"/>
  <p:cmAuthor id="7" name="1206988966@qq.com" initials="1" lastIdx="1" clrIdx="2"/>
  <p:cmAuthor id="8" name="姜伟光" initials="姜" lastIdx="1" clrIdx="0"/>
  <p:cmAuthor id="9" name="BPSE" initials="B" lastIdx="3" clrIdx="4"/>
  <p:cmAuthor id="10" name="Rosa-Zhu" initials="Al" lastIdx="1" clrIdx="5"/>
  <p:cmAuthor id="11" name="User" initials="U" lastIdx="1" clrIdx="6"/>
  <p:cmAuthor id="12" name="kbbk" initials="k" lastIdx="2" clrIdx="7"/>
  <p:cmAuthor id="1483810881" name="WPS_1679281038" initials="W" lastIdx="1" clrIdx="2"/>
  <p:cmAuthor id="231" name="张金玉" initials="张" lastIdx="1" clrIdx="0"/>
  <p:cmAuthor id="232" name="周平" initials="周" lastIdx="0" clrIdx="0"/>
  <p:cmAuthor id="235" name="永平 李" initials="永" lastIdx="1" clrIdx="4"/>
  <p:cmAuthor id="13" name="陈桂枝" initials="" lastIdx="1" clrIdx="0"/>
  <p:cmAuthor id="14" name="Microsoft 帐户" initials="" lastIdx="1" clrIdx="0"/>
  <p:cmAuthor id="15" name="李威" initials="" lastIdx="1" clrIdx="3"/>
  <p:cmAuthor id="16" name="未知用户1" initials="" lastIdx="1" clrIdx="3"/>
  <p:cmAuthor id="17" name="未知用户2" initials="" lastIdx="0" clrIdx="0"/>
  <p:cmAuthor id="18" name="未知用户3" initials="" lastIdx="4" clrIdx="1"/>
  <p:cmAuthor id="19" name="jl liu" initials="" lastIdx="18" clrIdx="0"/>
  <p:cmAuthor id="20" name="China" initials="" lastIdx="8" clrIdx="1"/>
  <p:cmAuthor id="21" name="微软用户" initials="" lastIdx="0" clrIdx="0"/>
  <p:cmAuthor id="22" name="刘传坤" initials="" lastIdx="14" clrIdx="0"/>
  <p:cmAuthor id="23" name="未定义" initials="" lastIdx="2" clrIdx="0"/>
  <p:cmAuthor id="24" name="张惠" initials="" lastIdx="1" clrIdx="0"/>
  <p:cmAuthor id="25" name="吴铭锐" initials="" lastIdx="2" clrIdx="0"/>
  <p:cmAuthor id="26" name="panhong" initials="" lastIdx="18" clrIdx="0"/>
  <p:cmAuthor id="27" name="未知用户4" initials="" lastIdx="5" clrIdx="2"/>
  <p:cmAuthor id="28" name="未知用户5" initials="" lastIdx="4" clrIdx="3"/>
  <p:cmAuthor id="29" name="未知用户21" initials="" lastIdx="1" clrIdx="0"/>
  <p:cmAuthor id="30" name="未知用户15" initials="" lastIdx="1" clrIdx="0"/>
  <p:cmAuthor id="31" name="未知用户16" initials="" lastIdx="4" clrIdx="0"/>
  <p:cmAuthor id="32" name="郝崇" initials="" lastIdx="4" clrIdx="1"/>
  <p:cmAuthor id="33" name="吴杰" initials="" lastIdx="1" clrIdx="0"/>
  <p:cmAuthor id="34" name="刘丽仙" initials="" lastIdx="4" clrIdx="33"/>
  <p:cmAuthor id="35" name="陶川" initials="" lastIdx="1" clrIdx="0"/>
  <p:cmAuthor id="36" name="张杰" initials="" lastIdx="7" clrIdx="0"/>
  <p:cmAuthor id="37" name="杨艳霞" initials="" lastIdx="34" clrIdx="1"/>
  <p:cmAuthor id="38" name="user" initials="" lastIdx="502" clrIdx="0"/>
  <p:cmAuthor id="39" name="吕喜龙" initials="" lastIdx="10" clrIdx="0"/>
  <p:cmAuthor id="40" name="andres.x.gomez" initials="" lastIdx="4" clrIdx="0"/>
  <p:cmAuthor id="41" name="丁芙蓉" initials="" lastIdx="4" clrIdx="1"/>
  <p:cmAuthor id="42" name="gtmc" initials="" lastIdx="0" clrIdx="0"/>
  <p:cmAuthor id="43" name="chunsong_hu" initials="" lastIdx="0" clrIdx="0"/>
  <p:cmAuthor id="266" name="桓蕾" initials="桓" lastIdx="1" clrIdx="101"/>
  <p:cmAuthor id="44" name="未知用户23" initials="" lastIdx="1" clrIdx="1"/>
  <p:cmAuthor id="45" name="未知用户24" initials="" lastIdx="1" clrIdx="0"/>
  <p:cmAuthor id="46" name="未知用户25" initials="" lastIdx="1" clrIdx="0"/>
  <p:cmAuthor id="269" name="原鹏" initials="原" lastIdx="1" clrIdx="34"/>
  <p:cmAuthor id="47" name="未知用户26" initials="" lastIdx="1" clrIdx="0"/>
  <p:cmAuthor id="270" name="未知用户147" initials="未" lastIdx="3" clrIdx="0"/>
  <p:cmAuthor id="48" name="未知用户27" initials="" lastIdx="1" clrIdx="0"/>
  <p:cmAuthor id="49" name="未知用户28" initials="" lastIdx="1" clrIdx="0"/>
  <p:cmAuthor id="50" name="未知用户29" initials="" lastIdx="1" clrIdx="0"/>
  <p:cmAuthor id="273" name="未知用户133" initials="未" lastIdx="21" clrIdx="4"/>
  <p:cmAuthor id="51" name="未知用户30" initials="" lastIdx="4" clrIdx="0"/>
  <p:cmAuthor id="274" name="未知用户134" initials="未" lastIdx="1" clrIdx="1"/>
  <p:cmAuthor id="52" name="yangkun" initials="" lastIdx="0" clrIdx="0"/>
  <p:cmAuthor id="275" name="未知用户135" initials="未" lastIdx="1" clrIdx="0"/>
  <p:cmAuthor id="53" name="Lenovo User" initials="" lastIdx="1" clrIdx="0"/>
  <p:cmAuthor id="276" name="未知用户136" initials="未" lastIdx="1" clrIdx="0"/>
  <p:cmAuthor id="54" name="hys2" initials="" lastIdx="1" clrIdx="0"/>
  <p:cmAuthor id="277" name="未知用户137" initials="未" lastIdx="1" clrIdx="0"/>
  <p:cmAuthor id="55" name="朱绍春" initials="" lastIdx="13" clrIdx="0"/>
  <p:cmAuthor id="278" name="未知用户146" initials="未" lastIdx="1" clrIdx="0"/>
  <p:cmAuthor id="56" name="邹洋" initials="" lastIdx="2" clrIdx="0"/>
  <p:cmAuthor id="279" name="未知用户138" initials="未" lastIdx="1" clrIdx="0"/>
  <p:cmAuthor id="57" name="孟祥超" initials="" lastIdx="2" clrIdx="1"/>
  <p:cmAuthor id="280" name="未知用户139" initials="未" lastIdx="4" clrIdx="0"/>
  <p:cmAuthor id="58" name="贡鑫" initials="" lastIdx="2" clrIdx="0"/>
  <p:cmAuthor id="59" name="administrator1" initials="" lastIdx="16" clrIdx="2"/>
  <p:cmAuthor id="282" name="未知用户141" initials="未" lastIdx="2" clrIdx="0"/>
  <p:cmAuthor id="60" name="杜雪梅" initials="" lastIdx="1" clrIdx="0"/>
  <p:cmAuthor id="283" name="未知用户142" initials="未" lastIdx="2" clrIdx="1"/>
  <p:cmAuthor id="61" name="仝德志" initials="" lastIdx="1" clrIdx="0"/>
  <p:cmAuthor id="284" name="未知用户143" initials="未" lastIdx="16" clrIdx="2"/>
  <p:cmAuthor id="62" name="evil" initials="" lastIdx="0" clrIdx="0"/>
  <p:cmAuthor id="285" name="未知用户144" initials="未" lastIdx="0" clrIdx="0"/>
  <p:cmAuthor id="63" name="lijin" initials="l" lastIdx="33" clrIdx="0"/>
  <p:cmAuthor id="287" name="志斌 杜" initials="志" lastIdx="5" clrIdx="103"/>
  <p:cmAuthor id="65" name="未知用户10" initials="未" lastIdx="7" clrIdx="0"/>
  <p:cmAuthor id="66" name="范作霖" initials="范" lastIdx="1" clrIdx="22"/>
  <p:cmAuthor id="67" name="张立鑫" initials="张" lastIdx="1" clrIdx="23"/>
  <p:cmAuthor id="69" name="未知用户11" initials="未" lastIdx="23" clrIdx="0"/>
  <p:cmAuthor id="70" name="YuQing" initials="Y" lastIdx="9" clrIdx="0"/>
  <p:cmAuthor id="71" name="Youwen Sun" initials="Y" lastIdx="3" clrIdx="1"/>
  <p:cmAuthor id="72" name="番茄花园" initials="番" lastIdx="1" clrIdx="0"/>
  <p:cmAuthor id="73" name="未知" initials="未" lastIdx="1" clrIdx="0"/>
  <p:cmAuthor id="75" name="周满红" initials="周" lastIdx="24" clrIdx="0"/>
  <p:cmAuthor id="76" name="太海峰" initials="太海峰" lastIdx="1" clrIdx="34"/>
  <p:cmAuthor id="77" name="未知用户6" initials="未" lastIdx="24" clrIdx="4"/>
  <p:cmAuthor id="78" name="未知用户7" initials="未" lastIdx="1" clrIdx="0"/>
  <p:cmAuthor id="301" name="未知用户101" initials="未" lastIdx="3" clrIdx="0"/>
  <p:cmAuthor id="79" name="未知用户9" initials="未" lastIdx="3" clrIdx="5"/>
  <p:cmAuthor id="80" name="鲍华明" initials="鲍" lastIdx="1" clrIdx="0"/>
  <p:cmAuthor id="81" name="李振宇" initials="李" lastIdx="1" clrIdx="5"/>
  <p:cmAuthor id="84" name="TPM" initials="T" lastIdx="2" clrIdx="88"/>
  <p:cmAuthor id="85" name="马红" initials="马" lastIdx="7" clrIdx="0"/>
  <p:cmAuthor id="86" name="马静" initials="马" lastIdx="0" clrIdx="0"/>
  <p:cmAuthor id="87" name="Qingyunli" initials="Q" lastIdx="24" clrIdx="0"/>
  <p:cmAuthor id="88" name="dell" initials="d" lastIdx="1" clrIdx="4"/>
  <p:cmAuthor id="89" name="叶得会" initials="叶" lastIdx="8" clrIdx="0"/>
  <p:cmAuthor id="90" name="USER" initials="U" lastIdx="19" clrIdx="0"/>
  <p:cmAuthor id="91" name="未知用户17" initials="未" lastIdx="1" clrIdx="1"/>
  <p:cmAuthor id="92" name="未知用户18" initials="未" lastIdx="1" clrIdx="0"/>
  <p:cmAuthor id="93" name="liying" initials="l" lastIdx="11" clrIdx="0"/>
  <p:cmAuthor id="317" name="lou cynthia" initials="l" lastIdx="1" clrIdx="0"/>
  <p:cmAuthor id="94" name="张钦" initials="张" lastIdx="4" clrIdx="4"/>
  <p:cmAuthor id="95" name="nine" initials="n" lastIdx="1" clrIdx="0"/>
  <p:cmAuthor id="319" name="张春贤" initials="张" lastIdx="13" clrIdx="128"/>
  <p:cmAuthor id="96" name="涛娜" initials="涛" lastIdx="1" clrIdx="11"/>
  <p:cmAuthor id="97" name="未知用户12" initials="未" lastIdx="4" clrIdx="3"/>
  <p:cmAuthor id="98" name="未知用户13" initials="未" lastIdx="24" clrIdx="4"/>
  <p:cmAuthor id="99" name="未知用户22" initials="未" lastIdx="1" clrIdx="0"/>
  <p:cmAuthor id="105" name="郑宽云" initials="郑宽云" lastIdx="1" clrIdx="104"/>
  <p:cmAuthor id="106" name="dadi" initials="d" lastIdx="2" clrIdx="1"/>
  <p:cmAuthor id="107" name="郑廷东" initials="郑" lastIdx="25" clrIdx="0"/>
  <p:cmAuthor id="110" name="白亚峰" initials="白" lastIdx="5" clrIdx="109"/>
  <p:cmAuthor id="111" name="翟海瑞" initials="翟" lastIdx="1" clrIdx="110"/>
  <p:cmAuthor id="113" name="zj Z" initials="zZ" lastIdx="1" clrIdx="104"/>
  <p:cmAuthor id="114" name="魏永生" initials="魏" lastIdx="4" clrIdx="17"/>
  <p:cmAuthor id="115" name="Zhou, Judy" initials="Z" lastIdx="9" clrIdx="0"/>
  <p:cmAuthor id="116" name=" " initials=" " lastIdx="3" clrIdx="6"/>
  <p:cmAuthor id="117" name="刘" initials="刘" lastIdx="8" clrIdx="0"/>
  <p:cmAuthor id="118" name="未知用户78" initials="未" lastIdx="1" clrIdx="0"/>
  <p:cmAuthor id="120" name="liu yj" initials="ly" lastIdx="1" clrIdx="35"/>
  <p:cmAuthor id="121" name="宋少霞" initials="宋" lastIdx="1" clrIdx="2"/>
  <p:cmAuthor id="122" name="姜亚荣" initials="姜" lastIdx="778" clrIdx="3"/>
  <p:cmAuthor id="123" name="李明" initials="李" lastIdx="4" clrIdx="73"/>
  <p:cmAuthor id="124" name="未知用户84" initials="未" lastIdx="1" clrIdx="0"/>
  <p:cmAuthor id="125" name="徐仕超" initials="徐" lastIdx="1" clrIdx="3"/>
  <p:cmAuthor id="126" name="未知用户62" initials="未" lastIdx="33" clrIdx="0"/>
  <p:cmAuthor id="127" name="王伟" initials="王" lastIdx="494" clrIdx="2"/>
  <p:cmAuthor id="128" name="Yuan Hu" initials="Y" lastIdx="1" clrIdx="0"/>
  <p:cmAuthor id="129" name="杜娇龙" initials="杜" lastIdx="2" clrIdx="1"/>
  <p:cmAuthor id="130" name="张利英" initials="张" lastIdx="2" clrIdx="2"/>
  <p:cmAuthor id="131" name="张双文" initials="张" lastIdx="2" clrIdx="3"/>
  <p:cmAuthor id="132" name="任勇" initials="任" lastIdx="5" clrIdx="0"/>
  <p:cmAuthor id="133" name="李天骄" initials="李" lastIdx="2" clrIdx="1"/>
  <p:cmAuthor id="134" name="王川雪" initials="王" lastIdx="65" clrIdx="0"/>
  <p:cmAuthor id="135" name="仵新荣" initials="仵" lastIdx="11" clrIdx="0"/>
  <p:cmAuthor id="136" name="樊革霞" initials="樊" lastIdx="56" clrIdx="0"/>
  <p:cmAuthor id="137" name="席美娟" initials="席" lastIdx="4" clrIdx="1"/>
  <p:cmAuthor id="138" name="郭金玲" initials="郭" lastIdx="2" clrIdx="2"/>
  <p:cmAuthor id="139" name="王景红" initials="王" lastIdx="6" clrIdx="3"/>
  <p:cmAuthor id="140" name="席金煜" initials="席" lastIdx="42" clrIdx="4"/>
  <p:cmAuthor id="141" name="樊佳佳" initials="樊" lastIdx="59" clrIdx="5"/>
  <p:cmAuthor id="142" name="fgx" initials="f" lastIdx="6" clrIdx="6"/>
  <p:cmAuthor id="143" name="郑汝鸿" initials="郑" lastIdx="2" clrIdx="0"/>
  <p:cmAuthor id="144" name="杨秀丰" initials="杨" lastIdx="62" clrIdx="2"/>
  <p:cmAuthor id="145" name="惠莲" initials="惠" lastIdx="37" clrIdx="4"/>
  <p:cmAuthor id="146" name="邢辰凤" initials="邢" lastIdx="45" clrIdx="7"/>
  <p:cmAuthor id="147" name="liang ma" initials="lm" lastIdx="1" clrIdx="35"/>
  <p:cmAuthor id="148" name="YILI" initials="Y" lastIdx="1" clrIdx="36"/>
  <p:cmAuthor id="149" name="未知用户43" initials="未" lastIdx="3" clrIdx="0"/>
  <p:cmAuthor id="150" name="未知用户40" initials="未" lastIdx="21" clrIdx="4"/>
  <p:cmAuthor id="151" name="未知用户41" initials="未" lastIdx="1" clrIdx="1"/>
  <p:cmAuthor id="152" name="未知用户42" initials="未" lastIdx="1" clrIdx="0"/>
  <p:cmAuthor id="153" name="未知用户36" initials="未" lastIdx="2" clrIdx="0"/>
  <p:cmAuthor id="154" name="未知用户37" initials="未" lastIdx="2" clrIdx="1"/>
  <p:cmAuthor id="155" name="未知用户38" initials="未" lastIdx="16" clrIdx="2"/>
  <p:cmAuthor id="156" name="未知用户39" initials="未" lastIdx="0" clrIdx="0"/>
  <p:cmAuthor id="157" name="未知用户44" initials="未" lastIdx="3" clrIdx="0"/>
  <p:cmAuthor id="158" name="未知用户45" initials="未" lastIdx="21" clrIdx="4"/>
  <p:cmAuthor id="159" name="未知用户46" initials="未" lastIdx="1" clrIdx="1"/>
  <p:cmAuthor id="160" name="未知用户47" initials="未" lastIdx="1" clrIdx="0"/>
  <p:cmAuthor id="161" name="未知用户48" initials="未" lastIdx="1" clrIdx="0"/>
  <p:cmAuthor id="162" name="未知用户49" initials="未" lastIdx="1" clrIdx="0"/>
  <p:cmAuthor id="163" name="未知用户50" initials="未" lastIdx="1" clrIdx="0"/>
  <p:cmAuthor id="164" name="未知用户51" initials="未" lastIdx="4" clrIdx="0"/>
  <p:cmAuthor id="165" name="未知用户52" initials="未" lastIdx="13" clrIdx="0"/>
  <p:cmAuthor id="166" name="未知用户53" initials="未" lastIdx="2" clrIdx="0"/>
  <p:cmAuthor id="167" name="未知用户54" initials="未" lastIdx="2" clrIdx="1"/>
  <p:cmAuthor id="168" name="未知用户55" initials="未" lastIdx="16" clrIdx="2"/>
  <p:cmAuthor id="169" name="未知用户56" initials="未" lastIdx="0" clrIdx="0"/>
  <p:cmAuthor id="171" name="未知用户63" initials="未" lastIdx="21" clrIdx="4"/>
  <p:cmAuthor id="173" name="未知用户65" initials="未" lastIdx="1" clrIdx="0"/>
  <p:cmAuthor id="174" name="未知用户66" initials="未" lastIdx="1" clrIdx="0"/>
  <p:cmAuthor id="175" name="未知用户67" initials="未" lastIdx="1" clrIdx="0"/>
  <p:cmAuthor id="176" name="未知用户68" initials="未" lastIdx="1" clrIdx="0"/>
  <p:cmAuthor id="177" name="未知用户69" initials="未" lastIdx="4" clrIdx="0"/>
  <p:cmAuthor id="178" name="未知用户70" initials="未" lastIdx="13" clrIdx="0"/>
  <p:cmAuthor id="179" name="未知用户71" initials="未" lastIdx="2" clrIdx="0"/>
  <p:cmAuthor id="180" name="未知用户72" initials="未" lastIdx="2" clrIdx="1"/>
  <p:cmAuthor id="181" name="未知用户73" initials="未" lastIdx="16" clrIdx="2"/>
  <p:cmAuthor id="182" name="未知用户74" initials="未" lastIdx="0" clrIdx="0"/>
  <p:cmAuthor id="183" name="未知用户75" initials="未" lastIdx="3" clrIdx="0"/>
  <p:cmAuthor id="184" name="未知用户76" initials="未" lastIdx="21" clrIdx="4"/>
  <p:cmAuthor id="185" name="未知用户77" initials="未" lastIdx="1" clrIdx="1"/>
  <p:cmAuthor id="187" name="未知用户79" initials="未" lastIdx="1" clrIdx="0"/>
  <p:cmAuthor id="188" name="未知用户80" initials="未" lastIdx="1" clrIdx="0"/>
  <p:cmAuthor id="189" name="未知用户81" initials="未" lastIdx="1" clrIdx="0"/>
  <p:cmAuthor id="190" name="未知用户82" initials="未" lastIdx="4" clrIdx="0"/>
  <p:cmAuthor id="191" name="未知用户83" initials="未" lastIdx="13" clrIdx="0"/>
  <p:cmAuthor id="193" name="未知用户85" initials="未" lastIdx="2" clrIdx="1"/>
  <p:cmAuthor id="194" name="未知用户86" initials="未" lastIdx="16" clrIdx="2"/>
  <p:cmAuthor id="195" name="未知用户87" initials="未" lastIdx="0" clrIdx="0"/>
  <p:cmAuthor id="196" name="未知用户88" initials="未" lastIdx="3" clrIdx="0"/>
  <p:cmAuthor id="197" name="未知用户89" initials="未" lastIdx="21" clrIdx="4"/>
  <p:cmAuthor id="198" name="未知用户90" initials="未" lastIdx="1" clrIdx="1"/>
  <p:cmAuthor id="199" name="未知用户91" initials="未" lastIdx="1" clrIdx="0"/>
  <p:cmAuthor id="200" name="未知用户92" initials="未" lastIdx="1" clrIdx="0"/>
  <p:cmAuthor id="201" name="未知用户93" initials="未" lastIdx="1" clrIdx="0"/>
  <p:cmAuthor id="202" name="未知用户94" initials="未" lastIdx="1" clrIdx="0"/>
  <p:cmAuthor id="203" name="未知用户95" initials="未" lastIdx="4" clrIdx="0"/>
  <p:cmAuthor id="204" name="未知用户96" initials="未" lastIdx="13" clrIdx="0"/>
  <p:cmAuthor id="205" name="未知用户97" initials="未" lastIdx="2" clrIdx="0"/>
  <p:cmAuthor id="206" name="未知用户98" initials="未" lastIdx="2" clrIdx="1"/>
  <p:cmAuthor id="207" name="未知用户99" initials="未" lastIdx="16" clrIdx="2"/>
  <p:cmAuthor id="208" name="未知用户100" initials="未" lastIdx="0" clrIdx="0"/>
  <p:cmAuthor id="209" name="Chris Kou" initials="C" lastIdx="1" clrIdx="0"/>
  <p:cmAuthor id="210" name="李刚" initials="李" lastIdx="3" clrIdx="0"/>
  <p:cmAuthor id="211" name="Microsoft Office 用户" initials="Office" lastIdx="0" clrIdx="104"/>
  <p:cmAuthor id="212" name="段振华" initials="段" lastIdx="1" clrIdx="0"/>
  <p:cmAuthor id="215" name="云峰 贾" initials="云" lastIdx="2" clrIdx="0"/>
  <p:cmAuthor id="217" name="王晓燕" initials="王" lastIdx="0" clrIdx="0"/>
  <p:cmAuthor id="218" name="杨彦伟" initials="杨" lastIdx="3" clrIdx="0"/>
  <p:cmAuthor id="318" name="liutianyu" initials="l" lastIdx="1" clrIdx="317"/>
  <p:cmAuthor id="320" name="longhai yu" initials="ly" lastIdx="2" clrIdx="319"/>
  <p:cmAuthor id="321" name="XXAQ-RSX" initials="X" lastIdx="1" clrIdx="320"/>
  <p:cmAuthor id="322" name="未知的使用者163" initials="未" lastIdx="1" clrIdx="0"/>
  <p:cmAuthor id="323" name="shaoxuebin" initials="8" lastIdx="1" clrIdx="322"/>
  <p:cmAuthor id="324" name="李晨贞" initials="李" lastIdx="1" clrIdx="323"/>
  <p:cmAuthor id="326" name="未知的使用者257" initials="未" lastIdx="1" clrIdx="0"/>
  <p:cmAuthor id="328" name="liu wei" initials="l" lastIdx="1" clrIdx="86"/>
  <p:cmAuthor id="332" name="未知的使用者240" initials="未" lastIdx="1" clrIdx="0"/>
  <p:cmAuthor id="334" name="未知的使用者241" initials="未" lastIdx="1" clrIdx="0"/>
  <p:cmAuthor id="336" name="未知的使用者242" initials="未" lastIdx="2" clrIdx="0"/>
  <p:cmAuthor id="338" name="未知的使用者243" initials="未" lastIdx="1" clrIdx="0"/>
  <p:cmAuthor id="340" name="未知的使用者258" initials="未" lastIdx="8" clrIdx="0"/>
  <p:cmAuthor id="342" name="未知的使用者259" initials="未" lastIdx="1" clrIdx="0"/>
  <p:cmAuthor id="344" name="未知的使用者260" initials="未" lastIdx="1" clrIdx="0"/>
  <p:cmAuthor id="346" name="未知的使用者261" initials="未" lastIdx="11" clrIdx="0"/>
  <p:cmAuthor id="348" name="未知的使用者262" initials="未" lastIdx="7" clrIdx="1"/>
  <p:cmAuthor id="350" name="未知的使用者263" initials="未" lastIdx="1" clrIdx="2"/>
  <p:cmAuthor id="352" name="未知的使用者264" initials="未" lastIdx="1" clrIdx="0"/>
  <p:cmAuthor id="354" name="未知的使用者265" initials="未" lastIdx="1" clrIdx="0"/>
  <p:cmAuthor id="356" name="未知的使用者266" initials="未" lastIdx="1" clrIdx="1"/>
  <p:cmAuthor id="358" name="未知的使用者267" initials="未" lastIdx="1" clrIdx="0"/>
  <p:cmAuthor id="360" name="未知的使用者268" initials="未" lastIdx="2" clrIdx="0"/>
  <p:cmAuthor id="361" name="未知用户106" initials="未" lastIdx="1" clrIdx="0"/>
  <p:cmAuthor id="362" name="未知的使用者269" initials="未" lastIdx="7" clrIdx="1"/>
  <p:cmAuthor id="191251535" name="沈霄雷" initials="沈" lastIdx="833089" clrIdx="0"/>
  <p:cmAuthor id="191251536" name="阿斯顿 刘" initials="阿斯顿" lastIdx="2" clrIdx="50"/>
  <p:cmAuthor id="191251537" name="HUAWEI" initials="H" lastIdx="2" clrIdx="51"/>
  <p:cmAuthor id="370" name="admin" initials="a" lastIdx="1" clrIdx="369"/>
  <p:cmAuthor id="371" name="zqzl06884" initials="z" lastIdx="2" clrIdx="370"/>
  <p:cmAuthor id="377" name="未知用户219" initials="未" lastIdx="6" clrIdx="0"/>
  <p:cmAuthor id="379" name="未知用户222" initials="未" lastIdx="1" clrIdx="0"/>
  <p:cmAuthor id="64" name="未知的使用者162" initials="未" lastIdx="1" clrIdx="0"/>
  <p:cmAuthor id="381" name="未知用户200" initials="未" lastIdx="8" clrIdx="0"/>
  <p:cmAuthor id="383" name="未知用户213" initials="未" lastIdx="1" clrIdx="0"/>
  <p:cmAuthor id="68" name="未知的使用者184" initials="未" lastIdx="8" clrIdx="0"/>
  <p:cmAuthor id="385" name="未知用户214" initials="未" lastIdx="2" clrIdx="0"/>
  <p:cmAuthor id="387" name="未知用户215" initials="未" lastIdx="1" clrIdx="0"/>
  <p:cmAuthor id="389" name="未知用户231" initials="未" lastIdx="1" clrIdx="0"/>
  <p:cmAuthor id="74" name="未知的使用者118" initials="未" lastIdx="1" clrIdx="0"/>
  <p:cmAuthor id="391" name="未知用户233" initials="未" lastIdx="11" clrIdx="0"/>
  <p:cmAuthor id="392" name="Unknown User117" initials="U" lastIdx="10" clrIdx="0"/>
  <p:cmAuthor id="393" name="未知用户234" initials="未" lastIdx="7" clrIdx="1"/>
  <p:cmAuthor id="395" name="未知用户235" initials="未" lastIdx="1" clrIdx="2"/>
  <p:cmAuthor id="397" name="未知用户236" initials="未" lastIdx="1" clrIdx="0"/>
  <p:cmAuthor id="82" name="未知的使用者40" initials="未" lastIdx="1" clrIdx="0"/>
  <p:cmAuthor id="399" name="未知用户237" initials="未" lastIdx="1" clrIdx="0"/>
  <p:cmAuthor id="83" name="未知的使用者180" initials="未" lastIdx="2" clrIdx="0"/>
  <p:cmAuthor id="400" name="Unknown User65" initials="U" lastIdx="1" clrIdx="0"/>
  <p:cmAuthor id="353158055" name="韩雨" initials="韩" lastIdx="0" clrIdx="0"/>
  <p:cmAuthor id="401" name="未知用户240" initials="未" lastIdx="2" clrIdx="0"/>
  <p:cmAuthor id="403" name="未知用户221" initials="未" lastIdx="43" clrIdx="1"/>
  <p:cmAuthor id="394525608" name="仇怿俊" initials="仇" lastIdx="0" clrIdx="0"/>
  <p:cmAuthor id="405" name="lillian" initials="l" lastIdx="1" clrIdx="0"/>
  <p:cmAuthor id="394525609" name="mei shuo" initials="mei shuo" lastIdx="1" clrIdx="24"/>
  <p:cmAuthor id="394525610" name="dengwanting" initials="d" lastIdx="1" clrIdx="50"/>
  <p:cmAuthor id="407" name="未知用户197" initials="未" lastIdx="1" clrIdx="0"/>
  <p:cmAuthor id="394525611" name="liwei" initials="z" lastIdx="1" clrIdx="52"/>
  <p:cmAuthor id="409" name="未知用户157" initials="未" lastIdx="8" clrIdx="0"/>
  <p:cmAuthor id="411" name="未知用户158" initials="未" lastIdx="2" clrIdx="0"/>
  <p:cmAuthor id="412" name="未知用户159" initials="未" lastIdx="1" clrIdx="0"/>
  <p:cmAuthor id="414" name="未知用户160" initials="未" lastIdx="2" clrIdx="0"/>
  <p:cmAuthor id="2000" name="李婧宜_YBferYVR" initials="authorId_1217247658" lastIdx="0" clrIdx="0"/>
  <p:cmAuthor id="416" name="未知用户168" initials="未" lastIdx="1" clrIdx="0"/>
  <p:cmAuthor id="2001" name="zhang shaohui" initials="zs" lastIdx="5" clrIdx="33"/>
  <p:cmAuthor id="100" name="Unknown User50" initials="U" lastIdx="1" clrIdx="0"/>
  <p:cmAuthor id="287643681" name="殷格非" initials="殷" lastIdx="2" clrIdx="0"/>
  <p:cmAuthor id="2002" name="王竑达" initials="王竑达" lastIdx="1" clrIdx="34"/>
  <p:cmAuthor id="101" name="未知的使用者120" initials="未" lastIdx="1" clrIdx="0"/>
  <p:cmAuthor id="287643682" name="z r" initials="zr" lastIdx="5" clrIdx="12"/>
  <p:cmAuthor id="418" name="順天" initials="順" lastIdx="1" clrIdx="0"/>
  <p:cmAuthor id="2003" name="梁鹏" initials="u" lastIdx="1" clrIdx="35"/>
  <p:cmAuthor id="102" name="px" initials="p" lastIdx="3" clrIdx="1"/>
  <p:cmAuthor id="287643683" name="lc xue" initials="lx" lastIdx="1" clrIdx="22"/>
  <p:cmAuthor id="2004" name="范 斌" initials="范" lastIdx="1" clrIdx="36"/>
  <p:cmAuthor id="103" name="Sky123.Org" initials="S" lastIdx="1" clrIdx="0"/>
  <p:cmAuthor id="2005" name="毕邺" initials="党委办公室" lastIdx="2" clrIdx="37"/>
  <p:cmAuthor id="104" name="elfinhsu" initials="e" lastIdx="1" clrIdx="0"/>
  <p:cmAuthor id="109" name="Mary Feil-Jacobs" initials="M" lastIdx="43" clrIdx="1"/>
  <p:cmAuthor id="112" name="王鹏凯" initials="王" lastIdx="1" clrIdx="0"/>
  <p:cmAuthor id="119" name="未知的使用者34" initials="未" lastIdx="1" clrIdx="0"/>
  <p:cmAuthor id="691587970" name="小延魔法师" initials="小" lastIdx="1126286" clrIdx="0"/>
  <p:cmAuthor id="691587971" name="徐 正国" initials="徐" lastIdx="1" clrIdx="45"/>
  <p:cmAuthor id="170" name="linyd" initials="l" lastIdx="3" clrIdx="1"/>
  <p:cmAuthor id="172" name="未知的使用者31" initials="未" lastIdx="1" clrIdx="0"/>
  <p:cmAuthor id="490" name="哲宇 赵" initials="哲赵" lastIdx="2" clrIdx="88"/>
  <p:cmAuthor id="4928" name="吴宇飞" initials="吴" lastIdx="1" clrIdx="375"/>
  <p:cmAuthor id="186" name="未知的使用者50" initials="未" lastIdx="1" clrIdx="0"/>
  <p:cmAuthor id="192" name="Kevin Hu" initials="K" lastIdx="1" clrIdx="0"/>
  <p:cmAuthor id="214" name="Windows 用户" initials="W" lastIdx="1" clrIdx="0"/>
  <p:cmAuthor id="216" name="未知用户61" initials="未" lastIdx="8" clrIdx="0"/>
  <p:cmAuthor id="219" name="不明使用者18" initials="不" lastIdx="0" clrIdx="1"/>
  <p:cmAuthor id="220" name="未知的使用者72" initials="未" lastIdx="1" clrIdx="0"/>
  <p:cmAuthor id="221" name="未知的使用者48" initials="未" lastIdx="1" clrIdx="0"/>
  <p:cmAuthor id="222" name="未知的使用者104" initials="未" lastIdx="1" clrIdx="0"/>
  <p:cmAuthor id="223" name="未知用户60" initials="未" lastIdx="1" clrIdx="0"/>
  <p:cmAuthor id="224" name="Shawna Strickland" initials="S" lastIdx="2" clrIdx="0"/>
  <p:cmAuthor id="225" name="未知的使用者36" initials="未" lastIdx="3" clrIdx="1"/>
  <p:cmAuthor id="226" name="Daniel Wuu" initials="D" lastIdx="1" clrIdx="0"/>
  <p:cmAuthor id="1411827" name="黄晓平" initials="黄" lastIdx="0" clrIdx="0"/>
  <p:cmAuthor id="1411828" name="徐琳00159163" initials="徐琳00159163" lastIdx="1" clrIdx="37"/>
  <p:cmAuthor id="228" name="未知的使用者14" initials="未" lastIdx="2" clrIdx="0"/>
  <p:cmAuthor id="1411829" name="张静_Anua7Nne" initials="authorId_935319063" lastIdx="0" clrIdx="0"/>
  <p:cmAuthor id="229" name="Ashley Eberenz" initials="A" lastIdx="7" clrIdx="1"/>
  <p:cmAuthor id="230" name="不明使用者19" initials="不" lastIdx="1" clrIdx="0"/>
  <p:cmAuthor id="233" name="未知的使用者23" initials="未" lastIdx="1" clrIdx="0"/>
  <p:cmAuthor id="234" name="未知的使用者1" initials="未" lastIdx="8" clrIdx="0"/>
  <p:cmAuthor id="236" name="R affer" initials="R" lastIdx="1" clrIdx="0"/>
  <p:cmAuthor id="237" name="qihua-DCMS" initials="q" lastIdx="0" clrIdx="0"/>
  <p:cmAuthor id="239" name="未知的使用者95" initials="未" lastIdx="1" clrIdx="0"/>
  <p:cmAuthor id="240" name="未知的使用者32" initials="未" lastIdx="1" clrIdx="0"/>
  <p:cmAuthor id="241" name="未知的使用者49" initials="未" lastIdx="1" clrIdx="0"/>
  <p:cmAuthor id="242" name="yuexuejun" initials="y" lastIdx="3" clrIdx="0"/>
  <p:cmAuthor id="243" name="未知的使用者71" initials="未" lastIdx="1" clrIdx="1"/>
  <p:cmAuthor id="244" name="未知的使用者105" initials="未" lastIdx="1" clrIdx="0"/>
  <p:cmAuthor id="245" name="Unknown User70" initials="U" lastIdx="1" clrIdx="0"/>
  <p:cmAuthor id="246" name="clinchen" initials="c" lastIdx="0" clrIdx="1"/>
  <p:cmAuthor id="248" name="hanjuncompany" initials="h" lastIdx="1" clrIdx="0"/>
  <p:cmAuthor id="249" name="kathy chen" initials="k" lastIdx="3" clrIdx="0"/>
  <p:cmAuthor id="250" name="未知的使用者63" initials="未" lastIdx="1" clrIdx="0"/>
  <p:cmAuthor id="251" name="未知的使用者64" initials="未" lastIdx="3" clrIdx="1"/>
  <p:cmAuthor id="252" name="未知的使用者47" initials="未" lastIdx="1" clrIdx="0"/>
  <p:cmAuthor id="253" name="未知的使用者60" initials="未" lastIdx="8" clrIdx="0"/>
  <p:cmAuthor id="254" name="未知的使用者59" initials="未" lastIdx="1" clrIdx="0"/>
  <p:cmAuthor id="255" name="未知的使用者54" initials="未" lastIdx="1" clrIdx="0"/>
  <p:cmAuthor id="256" name="未知的使用者66" initials="未" lastIdx="8" clrIdx="0"/>
  <p:cmAuthor id="257" name="未知的使用者65" initials="未" lastIdx="1" clrIdx="0"/>
  <p:cmAuthor id="258" name="未知的使用者106" initials="未" lastIdx="3" clrIdx="1"/>
  <p:cmAuthor id="259" name="未知的使用者107" initials="未" lastIdx="1" clrIdx="1"/>
  <p:cmAuthor id="260" name="未知的使用者108" initials="未" lastIdx="1" clrIdx="0"/>
  <p:cmAuthor id="261" name="未知的使用者86" initials="未" lastIdx="1" clrIdx="0"/>
  <p:cmAuthor id="262" name="未知的使用者116" initials="未" lastIdx="1" clrIdx="1"/>
  <p:cmAuthor id="263" name="未知的使用者44" initials="未" lastIdx="1" clrIdx="0"/>
  <p:cmAuthor id="264" name="未知的使用者37" initials="未" lastIdx="1" clrIdx="0"/>
  <p:cmAuthor id="265" name="未知的使用者126" initials="未" lastIdx="1" clrIdx="0"/>
  <p:cmAuthor id="267" name="未知的使用者128" initials="未" lastIdx="1" clrIdx="1"/>
  <p:cmAuthor id="268" name="未知的使用者124" initials="未" lastIdx="1" clrIdx="0"/>
  <p:cmAuthor id="271" name="huang gerrard" initials="h" lastIdx="1" clrIdx="0"/>
  <p:cmAuthor id="272" name="未知用户170" initials="未" lastIdx="1" clrIdx="0"/>
  <p:cmAuthor id="281" name="未知用户154" initials="未" lastIdx="1" clrIdx="0"/>
  <p:cmAuthor id="286" name="未知用户156" initials="未" lastIdx="10" clrIdx="0"/>
  <p:cmAuthor id="8534" name="李丽" initials="李" lastIdx="1" clrIdx="368"/>
  <p:cmAuthor id="298" name="MA15" initials="M" lastIdx="1" clrIdx="0"/>
  <p:cmAuthor id="309" name="未知用户32" initials="未" lastIdx="1" clrIdx="0"/>
  <p:cmAuthor id="310" name="未知用户33" initials="未" lastIdx="1" clrIdx="0"/>
  <p:cmAuthor id="311" name="未知用户34" initials="未" lastIdx="2" clrIdx="0"/>
  <p:cmAuthor id="313" name="未知的使用者109" initials="未" lastIdx="5" clrIdx="1"/>
  <p:cmAuthor id="314" name="未知的使用者122" initials="未" lastIdx="1" clrIdx="0"/>
  <p:cmAuthor id="315" name="未知的使用者123" initials="未" lastIdx="8" clrIdx="0"/>
  <p:cmAuthor id="316" name="张诗敏" initials="张" lastIdx="0" clrIdx="0"/>
  <p:cmAuthor id="49837067" name="刘浩" initials="刘" lastIdx="180431" clrIdx="0"/>
  <p:cmAuthor id="49837068" name="Vivian Liu" initials="VL" lastIdx="1" clrIdx="1"/>
  <p:cmAuthor id="268864578" name="张一森" initials="张" lastIdx="1" clrIdx="370"/>
  <p:cmAuthor id="369" name="ruichaonan" initials="r" lastIdx="1" clrIdx="368"/>
  <p:cmAuthor id="325" name="Dell" initials="D" lastIdx="1" clrIdx="324"/>
  <p:cmAuthor id="482245296" name="Ditto" initials="D" lastIdx="1" clrIdx="319"/>
  <p:cmAuthor id="286783773" name="mjs" initials="m" lastIdx="1" clrIdx="381"/>
  <p:cmAuthor id="1683543828" name="周涛" initials="周" lastIdx="1" clrIdx="0"/>
  <p:cmAuthor id="1721540396" name="史益朋" initials="史" lastIdx="3" clrIdx="5"/>
  <p:cmAuthor id="1683534291" name="刘毅" initials="刘" lastIdx="1" clrIdx="6"/>
  <p:cmAuthor id="1613310252" name="捷途山海" initials="捷" lastIdx="1" clrIdx="17"/>
  <p:cmAuthor id="1396823279" name="WPS_1660975528" initials="W" lastIdx="2" clrIdx="64"/>
  <p:cmAuthor id="1682082551" name="耿炎" initials="耿" lastIdx="1" clrIdx="0"/>
  <p:cmAuthor id="1672656290" name="胡刚" initials="胡" lastIdx="1" clrIdx="0"/>
  <p:cmAuthor id="1672656343" name="刘金珂" initials="刘" lastIdx="4" clrIdx="0"/>
  <p:cmAuthor id="335126126" name="李春" initials="李" lastIdx="1" clrIdx="0"/>
  <p:cmAuthor id="1672656316" name="王辰安" initials="王" lastIdx="2" clrIdx="10"/>
  <p:cmAuthor id="1672656471" name="袁弯弯" initials="袁" lastIdx="1" clrIdx="3"/>
  <p:cmAuthor id="1671886261" name="WPS_1735956362" initials="W" lastIdx="1" clrIdx="1"/>
  <p:cmAuthor id="1672656058" name="廖静雅" initials="廖" lastIdx="1" clrIdx="1"/>
  <p:cmAuthor id="1672655980" name="武永康" initials="武" lastIdx="1" clrIdx="1"/>
  <p:cmAuthor id="1672656472" name="崔俊 Jun Cui （研发总院 AERI）" initials="崔俊" lastIdx="1" clrIdx="25"/>
  <p:cmAuthor id="1681617437" name="周燕" initials="周" lastIdx="1" clrIdx="0"/>
  <p:cmAuthor id="1682091849" name="周伟" initials="周" lastIdx="1" clrIdx="0"/>
  <p:cmAuthor id="1681620597" name="孙芳芳" initials="孙" lastIdx="1" clrIdx="2"/>
  <p:cmAuthor id="1680221765" name="吴海林" initials="吴" lastIdx="1" clrIdx="4"/>
  <p:cmAuthor id="1672656344" name="张碧波" initials="张碧波" lastIdx="1" clrIdx="2"/>
  <p:cmAuthor id="1672656345" name="1958" initials="11" lastIdx="1" clrIdx="8"/>
  <p:cmAuthor id="1672656055" name="刘俊武" initials="刘" lastIdx="1" clrIdx="0"/>
  <p:cmAuthor id="1672656063" name="程爽" initials="程" lastIdx="1" clrIdx="6"/>
  <p:cmAuthor id="396692236" name="@" initials="@" lastIdx="1" clrIdx="0"/>
  <p:cmAuthor id="1677985920" name="王中祥" initials="王" lastIdx="4" clrIdx="377"/>
  <p:cmAuthor id="1672655819" name="王代奎" initials="王" lastIdx="16" clrIdx="2"/>
  <p:cmAuthor id="1672657389" name="孙肖帅" initials="孙" lastIdx="1" clrIdx="370"/>
  <p:cmAuthor id="1697925651" name="荀娜" initials="荀" lastIdx="1" clrIdx="8"/>
  <p:cmAuthor id="1672656242" name="梁镇宇" initials="梁" lastIdx="1" clrIdx="1"/>
  <p:cmAuthor id="445034169" name="幽泉" initials="幽" lastIdx="1" clrIdx="0"/>
  <p:cmAuthor id="1672657202" name="洪宾宝" initials="洪" lastIdx="1" clrIdx="0"/>
  <p:cmAuthor id="1132422835" name="豆芽" initials="豆" lastIdx="1" clrIdx="8"/>
  <p:cmAuthor id="1682088608" name="崔国庆" initials="崔" lastIdx="2" clrIdx="1"/>
  <p:cmAuthor id="1672657397" name="王卫" initials="王" lastIdx="1" clrIdx="1"/>
  <p:cmAuthor id="1683539850" name="樊瑞" initials="樊" lastIdx="2" clrIdx="6"/>
  <p:cmAuthor id="1685701239" name="王雅亭" initials="王" lastIdx="1" clrIdx="3"/>
  <p:cmAuthor id="335126127" name="张勇" initials="张" lastIdx="1" clrIdx="2"/>
  <p:cmAuthor id="287643684" name="Aqf" initials="A" lastIdx="1" clrIdx="36"/>
  <p:cmAuthor id="341" name="修改人编号：YG-100088,姓名：张沙" initials="修" lastIdx="2" clrIdx="340"/>
  <p:cmAuthor id="287643685" name="亮" initials="亮" lastIdx="1" clrIdx="44"/>
  <p:cmAuthor id="47245819" name="群智集" initials="群" lastIdx="0" clrIdx="0"/>
  <p:cmAuthor id="47245820" name="郏 鹏" initials="郏" lastIdx="1" clrIdx="16"/>
  <p:cmAuthor id="47245821" name="郏鹏" initials="M" lastIdx="1" clrIdx="17"/>
  <p:cmAuthor id="1087973711" name="迁徙" initials="迁" lastIdx="1" clrIdx="14"/>
  <p:cmAuthor id="296654211" name="  微乐人生 " initials=" " lastIdx="1" clrIdx="14"/>
  <p:cmAuthor id="691587972" name="沙俊杰00140688" initials="沙俊杰00140688" lastIdx="1" clrIdx="50"/>
  <p:cmAuthor id="1634243517" name="谭东" initials="谭" lastIdx="1" clrIdx="0"/>
  <p:cmAuthor id="1634243518" name="王净植 Jingzhi Wang (法律和知识产权中心)" initials="王净植" lastIdx="1" clrIdx="341"/>
  <p:cmAuthor id="1633878866" name="彭博" initials="彭" lastIdx="2" clrIdx="340"/>
  <p:cmAuthor id="1672655891" name="李雪婷" initials="李" lastIdx="1" clrIdx="2"/>
  <p:cmAuthor id="1680154810" name="王锐" initials="王" lastIdx="1" clrIdx="5"/>
  <p:cmAuthor id="1672657121" name="王武" initials="王" lastIdx="2" clrIdx="0"/>
  <p:cmAuthor id="1672656057" name="曾峰" initials="曾" lastIdx="1" clrIdx="1"/>
  <p:cmAuthor id="1672657426" name="张叶" initials="张" lastIdx="1" clrIdx="4"/>
  <p:cmAuthor id="1682301455" name="朱燕" initials="朱" lastIdx="1" clrIdx="2"/>
  <p:cmAuthor id="1682096260" name="高磊" initials="高" lastIdx="1" clrIdx="0"/>
  <p:cmAuthor id="1674098505" name="曹彦飞" initials="曹" lastIdx="7" clrIdx="4"/>
  <p:cmAuthor id="476511732" name="小冰" initials="小" lastIdx="1" clrIdx="1"/>
  <p:cmAuthor id="370487822" name="Xenia" initials="X" lastIdx="1" clrIdx="0"/>
  <p:cmAuthor id="473653970" name="土豆儿" initials="土" lastIdx="2" clrIdx="12"/>
  <p:cmAuthor id="1683534983" name="宋子超" initials="宋" lastIdx="1" clrIdx="24"/>
  <p:cmAuthor id="473653971" name="杜强 Qiang Du （营销公司）" initials="杜强" lastIdx="1" clrIdx="27"/>
  <p:cmAuthor id="587889056" name="ジョーカー誠" initials="ジ" lastIdx="2" clrIdx="12"/>
  <p:cmAuthor id="368" name="Egos" initials="E" lastIdx="1" clrIdx="367"/>
  <p:cmAuthor id="1130801456" name="heart" initials="h" lastIdx="2" clrIdx="370"/>
  <p:cmAuthor id="212385275" name="寄情于悦" initials="寄" lastIdx="1" clrIdx="372"/>
  <p:cmAuthor id="441403672" name="流年" initials="流" lastIdx="1" clrIdx="2"/>
  <p:cmAuthor id="358926262" name="Johnky" initials="J" lastIdx="1" clrIdx="0"/>
  <p:cmAuthor id="430057189" name="Devil" initials="D" lastIdx="1" clrIdx="126"/>
  <p:cmAuthor id="1413969841" name="王秦" initials="王" lastIdx="1" clrIdx="0"/>
  <p:cmAuthor id="1130801457" name="惊涛 吴" initials="惊吴" lastIdx="1" clrIdx="371"/>
  <p:cmAuthor id="1683540563" name="李清赫" initials="李" lastIdx="1" clrIdx="13"/>
  <p:cmAuthor id="481820501" name="TinyYu" initials="T" lastIdx="1" clrIdx="375"/>
  <p:cmAuthor id="1672656378" name="赵艳平" initials="赵" lastIdx="1" clrIdx="0"/>
  <p:cmAuthor id="1672655853" name="谢成俊" initials="谢" lastIdx="2" clrIdx="376"/>
  <p:cmAuthor id="1682080022" name="郑勇" initials="郑" lastIdx="1" clrIdx="2"/>
  <p:cmAuthor id="341852575" name="闪电娃" initials="闪" lastIdx="2" clrIdx="22"/>
  <p:cmAuthor id="1682301350" name="韩文豪" initials="韩" lastIdx="1" clrIdx="2"/>
  <p:cmAuthor id="1672656555" name="刘方" initials="刘" lastIdx="1" clrIdx="1"/>
  <p:cmAuthor id="1672656563" name="陈壮" initials="陈" lastIdx="1" clrIdx="1"/>
  <p:cmAuthor id="452196177" name="盼盼" initials="盼" lastIdx="1" clrIdx="19"/>
  <p:cmAuthor id="557285851" name="橙子" initials="橙" lastIdx="1" clrIdx="0"/>
  <p:cmAuthor id="1682083322" name="许小海" initials="许" lastIdx="1" clrIdx="374"/>
  <p:cmAuthor id="1683543774" name="郜静" initials="郜" lastIdx="1" clrIdx="3"/>
  <p:cmAuthor id="1680222894" name="冯泽祥" initials="冯" lastIdx="1" clrIdx="0"/>
  <p:cmAuthor id="1683544159" name="袁源" initials="袁" lastIdx="1" clrIdx="0"/>
  <p:cmAuthor id="249310981" name="TQ" initials="T" lastIdx="1" clrIdx="58"/>
  <p:cmAuthor id="1682083113" name="高升" initials="高" lastIdx="1" clrIdx="408"/>
  <p:cmAuthor id="1678678701" name="林小献" initials="林" lastIdx="1" clrIdx="3"/>
  <p:cmAuthor id="1678125712" name="赵明怀" initials="赵" lastIdx="2" clrIdx="16"/>
  <p:cmAuthor id="1319055702" name="test" initials="t" lastIdx="3" clrIdx="15"/>
  <p:cmAuthor id="1672656502" name="黄芊" initials="黄" lastIdx="1" clrIdx="0"/>
  <p:cmAuthor id="294595057" name="孙烨" initials="孙" lastIdx="1" clrIdx="317"/>
  <p:cmAuthor id="53829321" name="杨国杰" initials="杨" lastIdx="370875" clrIdx="0"/>
  <p:cmAuthor id="1672657454" name="刘文豪" initials="刘" lastIdx="1" clrIdx="371"/>
  <p:cmAuthor id="1210168429" name="丁健" initials="丁" lastIdx="1" clrIdx="340"/>
  <p:cmAuthor id="287479222" name="龍行天下" initials="龍" lastIdx="5" clrIdx="307"/>
  <p:cmAuthor id="1688856487" name="胡渐" initials="胡" lastIdx="1" clrIdx="329"/>
  <p:cmAuthor id="210492765" name="施普希（菜菜）" initials="施" lastIdx="0" clrIdx="0"/>
  <p:cmAuthor id="210492766" name="曹 朝辉" initials="曹" lastIdx="1" clrIdx="14"/>
  <p:cmAuthor id="1676282709" name="尹露露" initials="尹" lastIdx="1" clrIdx="0"/>
  <p:cmAuthor id="587589085" name="吉祥" initials="吉" lastIdx="1" clrIdx="13"/>
  <p:cmAuthor id="1682104433" name="林强" initials="林" lastIdx="3" clrIdx="1"/>
  <p:cmAuthor id="327" name="41985" initials="4" lastIdx="1" clrIdx="326"/>
  <p:cmAuthor id="1672656389" name="沈旭" initials="沈" lastIdx="1" clrIdx="10"/>
  <p:cmAuthor id="365" name="Sun Rowena" initials="SR" lastIdx="1" clrIdx="311"/>
  <p:cmAuthor id="1615351904" name="夏乾峰" initials="夏" lastIdx="1" clrIdx="345"/>
  <p:cmAuthor id="1672656433" name="范赟建" initials="范" lastIdx="1" clrIdx="0"/>
  <p:cmAuthor id="1672657304" name="蔡勤" initials="蔡" lastIdx="2" clrIdx="3"/>
  <p:cmAuthor id="8535702" name="曾蓓/贝贝" initials="曾" lastIdx="0" clrIdx="0"/>
  <p:cmAuthor id="1672656468" name="程颖" initials="程" lastIdx="1" clrIdx="17"/>
  <p:cmAuthor id="1672656473" name="王志刚" initials="王" lastIdx="2" clrIdx="3"/>
  <p:cmAuthor id="207460691" name="林晗" initials="林" lastIdx="1" clrIdx="1"/>
  <p:cmAuthor id="373239727" name="爽歪歪" initials="爽" lastIdx="1" clrIdx="21"/>
  <p:cmAuthor id="201515585" name="谭_夜方天" initials="谭" lastIdx="4" clrIdx="16"/>
  <p:cmAuthor id="1155384261" name="WPS_1609217338" initials="W" lastIdx="2" clrIdx="3"/>
  <p:cmAuthor id="1548207132" name="KevinZ" initials="K" lastIdx="1" clrIdx="0"/>
  <p:cmAuthor id="372920522" name="倫" initials="倫" lastIdx="1" clrIdx="29"/>
  <p:cmAuthor id="1505454008" name="WPS_1686790532" initials="W" lastIdx="1" clrIdx="35"/>
  <p:cmAuthor id="1249453685" name="微信用户" initials="微" lastIdx="1" clrIdx="0"/>
  <p:cmAuthor id="448009074" name="CC" initials="C" lastIdx="2" clrIdx="17"/>
  <p:cmAuthor id="373239728" name="x d" initials="xd" lastIdx="4" clrIdx="25"/>
  <p:cmAuthor id="519453238" name="徐圣" initials="徐" lastIdx="1" clrIdx="30"/>
  <p:cmAuthor id="451686918" name="雷恒" initials="雷" lastIdx="17" clrIdx="19"/>
  <p:cmAuthor id="1602680948" name="田勃" initials="田" lastIdx="1" clrIdx="1"/>
  <p:cmAuthor id="475249971" name="HTR" initials="H" lastIdx="7" clrIdx="37"/>
  <p:cmAuthor id="244697621" name="博源" initials="博" lastIdx="1" clrIdx="36"/>
  <p:cmAuthor id="4944" name="郝树新" initials="郝" lastIdx="8" clrIdx="314"/>
  <p:cmAuthor id="191251538" name="chenjinli (C)" initials="c(" lastIdx="9" clrIdx="108"/>
  <p:cmAuthor id="259930509" name="安落晓陌" initials="安" lastIdx="1" clrIdx="0"/>
  <p:cmAuthor id="259930510" name="王俊程_7NNjfymA" initials="authorId_6234" lastIdx="0" clrIdx="0"/>
  <p:cmAuthor id="259930511" name="jiyali (A)" initials="j(" lastIdx="17" clrIdx="318"/>
  <p:cmAuthor id="1690787083" name="徐少泽" initials="徐" lastIdx="1" clrIdx="0"/>
  <p:cmAuthor id="1634243524" name="邹宇鹏" initials="邹" lastIdx="2" clrIdx="1"/>
  <p:cmAuthor id="1690787084" name="邓添添 Tiantian Deng （财务中心）" initials="邓添添" lastIdx="1" clrIdx="4"/>
  <p:cmAuthor id="333" name="未知的使用者84" initials="未" lastIdx="1" clrIdx="1"/>
  <p:cmAuthor id="975807952" name="HH" initials="H" lastIdx="1" clrIdx="10"/>
  <p:cmAuthor id="1678341828" name="姜朝妮" initials="姜" lastIdx="2" clrIdx="12"/>
  <p:cmAuthor id="665651747" name="ht" initials="h" lastIdx="2" clrIdx="11"/>
  <p:cmAuthor id="1676641809" name="孔帅" initials="孔" lastIdx="1" clrIdx="1"/>
  <p:cmAuthor id="1672657639" name="潘一成" initials="潘" lastIdx="2" clrIdx="8"/>
  <p:cmAuthor id="1672657640" name="lida" initials="l" lastIdx="1" clrIdx="341"/>
  <p:cmAuthor id="1672656768" name="王章伟" initials="王" lastIdx="1" clrIdx="1"/>
  <p:cmAuthor id="1672656844" name="王震寰" initials="王" lastIdx="1" clrIdx="1"/>
  <p:cmAuthor id="1681616040" name="陈恒" initials="陈" lastIdx="2" clrIdx="0"/>
  <p:cmAuthor id="1711764072" name="徐潮" initials="徐" lastIdx="1" clrIdx="0"/>
  <p:cmAuthor id="1691318640" name="吴凯华" initials="吴" lastIdx="14" clrIdx="3"/>
  <p:cmAuthor id="369678955" name="怀生" initials="怀" lastIdx="2" clrIdx="45"/>
  <p:cmAuthor id="311286168" name="轻禾ฅ" initials="轻" lastIdx="1" clrIdx="15"/>
  <p:cmAuthor id="1132641047" name="袁镜淇" initials="袁" lastIdx="1" clrIdx="17"/>
  <p:cmAuthor id="367461555" name="Leaf" initials="L" lastIdx="1" clrIdx="5"/>
  <p:cmAuthor id="1716582379" name="熊伟强" initials="熊" lastIdx="2" clrIdx="0"/>
  <p:cmAuthor id="1683901592" name="程涛" initials="程" lastIdx="1" clrIdx="5"/>
  <p:cmAuthor id="210492767" name="Peter Zheng" initials="PZ" lastIdx="2" clrIdx="12"/>
  <p:cmAuthor id="191251539" name="张宇_RRziEZrm" initials="authorId_260961" lastIdx="0" clrIdx="0"/>
  <p:cmAuthor id="691587973" name="jig" initials="j" lastIdx="2" clrIdx="57"/>
  <p:cmAuthor id="331" name="金洁" initials="金" lastIdx="1" clrIdx="330"/>
  <p:cmAuthor id="691587974" name="嘉琦" initials="嘉琦" lastIdx="1" clrIdx="59"/>
  <p:cmAuthor id="330" name="刘铭" initials="刘" lastIdx="1" clrIdx="334"/>
  <p:cmAuthor id="335" name="wuxiaoqi1" initials="w" lastIdx="2" clrIdx="334"/>
  <p:cmAuthor id="339" name="赵刚" initials="赵" lastIdx="1" clrIdx="325"/>
  <p:cmAuthor id="355" name="yangjun123" initials="y" lastIdx="1" clrIdx="354"/>
  <p:cmAuthor id="191251540" name="韩剑侠" initials="P" lastIdx="1" clrIdx="41"/>
  <p:cmAuthor id="210492768" name="gus9@chinaunicom.cn" initials="g" lastIdx="4" clrIdx="27"/>
  <p:cmAuthor id="2006" name="jiaru tiger" initials="jt" lastIdx="2" clrIdx="38"/>
  <p:cmAuthor id="691587975" name="王 明振" initials="王" lastIdx="1" clrIdx="334"/>
  <p:cmAuthor id="475196944" name="姚琳" initials="姚" lastIdx="1133934" clrIdx="0"/>
  <p:cmAuthor id="475196945" name="chen" initials="c" lastIdx="1" clrIdx="2"/>
  <p:cmAuthor id="345" name="mengx79" initials="m" lastIdx="1" clrIdx="344"/>
  <p:cmAuthor id="366" name="崔涛" initials="崔" lastIdx="1" clrIdx="365"/>
  <p:cmAuthor id="337" name="10568" initials="1" lastIdx="1" clrIdx="336"/>
  <p:cmAuthor id="691587976" name="梁光灯_iI7bJ7vm" initials="authorId_510858482" lastIdx="0" clrIdx="0"/>
  <p:cmAuthor id="376" name="UNICOM" initials="U" lastIdx="1" clrIdx="375"/>
  <p:cmAuthor id="564" name="未知用户319" initials="未" lastIdx="1" clrIdx="0"/>
  <p:cmAuthor id="570" name="未知用户110" initials="未" lastIdx="1" clrIdx="0"/>
  <p:cmAuthor id="571" name="未知用户121" initials="未" lastIdx="1" clrIdx="1"/>
  <p:cmAuthor id="574" name="未知用户278" initials="未" lastIdx="1" clrIdx="0"/>
  <p:cmAuthor id="575" name="未知用户279" initials="未" lastIdx="1" clrIdx="0"/>
  <p:cmAuthor id="576" name="未知用户280" initials="未" lastIdx="4" clrIdx="2"/>
  <p:cmAuthor id="577" name="未知用户281" initials="未" lastIdx="1" clrIdx="0"/>
  <p:cmAuthor id="191251541" name="sjzx" initials="s" lastIdx="1" clrIdx="25"/>
  <p:cmAuthor id="578" name="未知用户282" initials="未" lastIdx="3" clrIdx="1"/>
  <p:cmAuthor id="191251542" name="yang.yuan" initials="y" lastIdx="0" clrIdx="17"/>
  <p:cmAuthor id="579" name="未知用户283" initials="未" lastIdx="1" clrIdx="1"/>
  <p:cmAuthor id="191251543" name="王娟" initials="1" lastIdx="1" clrIdx="31"/>
  <p:cmAuthor id="580" name="未知用户284" initials="未" lastIdx="1" clrIdx="0"/>
  <p:cmAuthor id="581" name="未知用户285" initials="未" lastIdx="8" clrIdx="0"/>
  <p:cmAuthor id="583" name="78234500@qq.com" initials="7" lastIdx="1" clrIdx="0"/>
  <p:cmAuthor id="585" name="未知用户290" initials="未" lastIdx="2" clrIdx="0"/>
  <p:cmAuthor id="586" name="未知用户291" initials="未" lastIdx="8" clrIdx="0"/>
  <p:cmAuthor id="587" name="未知用户292" initials="未" lastIdx="1" clrIdx="0"/>
  <p:cmAuthor id="588" name="未知用户293" initials="未" lastIdx="1" clrIdx="0"/>
  <p:cmAuthor id="589" name="未知用户295" initials="未" lastIdx="1" clrIdx="0"/>
  <p:cmAuthor id="590" name="未知用户297" initials="未" lastIdx="1" clrIdx="0"/>
  <p:cmAuthor id="591" name="panjm" initials="p" lastIdx="1" clrIdx="0"/>
  <p:cmAuthor id="592" name="ye gusong" initials="y" lastIdx="1" clrIdx="0"/>
  <p:cmAuthor id="593" name="wei muzi" initials="w" lastIdx="1" clrIdx="4"/>
  <p:cmAuthor id="594" name="孙" initials="孙" lastIdx="1" clrIdx="50"/>
  <p:cmAuthor id="595" name="liuchunhua199110" initials="l" lastIdx="3" clrIdx="3"/>
  <p:cmAuthor id="597" name="未知用户256" initials="未" lastIdx="1" clrIdx="0"/>
  <p:cmAuthor id="598" name="未知的使用者139" initials="未" lastIdx="1" clrIdx="0"/>
  <p:cmAuthor id="599" name="未知用户258" initials="未" lastIdx="8" clrIdx="0"/>
  <p:cmAuthor id="604" name="未知的使用者140" initials="未" lastIdx="1" clrIdx="1"/>
  <p:cmAuthor id="605" name="yudi lin" initials="y" lastIdx="0" clrIdx="0"/>
  <p:cmAuthor id="608" name="49554261@qq.com" initials="4" lastIdx="2" clrIdx="2"/>
  <p:cmAuthor id="611" name="未知用户313" initials="未" lastIdx="2" clrIdx="0"/>
  <p:cmAuthor id="612" name="胡岱雯" initials="胡" lastIdx="1" clrIdx="0"/>
  <p:cmAuthor id="613" name="张 成亚" initials="张" lastIdx="1" clrIdx="52"/>
  <p:cmAuthor id="614" name="未知用户268" initials="未" lastIdx="1" clrIdx="0"/>
  <p:cmAuthor id="615" name="liuzga" initials="l" lastIdx="1" clrIdx="3"/>
  <p:cmAuthor id="617" name="未知用户218" initials="未" lastIdx="1" clrIdx="0"/>
  <p:cmAuthor id="619" name="未知用户344" initials="未" lastIdx="1" clrIdx="0"/>
  <p:cmAuthor id="620" name="未知用户345" initials="未" lastIdx="1" clrIdx="0"/>
  <p:cmAuthor id="621" name="未知用户347" initials="未" lastIdx="6" clrIdx="0"/>
  <p:cmAuthor id="622" name="未知用户348" initials="未" lastIdx="10" clrIdx="0"/>
  <p:cmAuthor id="623" name="jian Ray" initials="j" lastIdx="1" clrIdx="50"/>
  <p:cmAuthor id="626" name="王丽君" initials="王" lastIdx="4" clrIdx="0"/>
  <p:cmAuthor id="628" name="�Ÿ�" initials="�" lastIdx="1" clrIdx="0"/>
  <p:cmAuthor id="630" name="jesschin" initials="j" lastIdx="1" clrIdx="510"/>
  <p:cmAuthor id="633" name="Carol Kelly" initials="C" lastIdx="1" clrIdx="0"/>
  <p:cmAuthor id="636" name="Unknown User58" initials="U" lastIdx="1" clrIdx="0"/>
  <p:cmAuthor id="637" name="Unknown User55" initials="U" lastIdx="1" clrIdx="1"/>
  <p:cmAuthor id="638" name="未知用户343" initials="未" lastIdx="1" clrIdx="0"/>
  <p:cmAuthor id="639" name="Huipeng Cao" initials="H" lastIdx="1" clrIdx="0"/>
  <p:cmAuthor id="640" name="李 雷雨" initials="李" lastIdx="1" clrIdx="0"/>
  <p:cmAuthor id="641" name="91257" initials="9" lastIdx="0" clrIdx="1"/>
  <p:cmAuthor id="642" name="vicky" initials="v" lastIdx="2" clrIdx="1"/>
  <p:cmAuthor id="643" name="庆芳 许" initials="庆" lastIdx="1" clrIdx="0"/>
  <p:cmAuthor id="644" name="jerrychou" initials="j" lastIdx="1" clrIdx="4"/>
  <p:cmAuthor id="645" name="不明使用者12" initials="不" lastIdx="3" clrIdx="1"/>
  <p:cmAuthor id="646" name="不明使用者1" initials="不" lastIdx="0" clrIdx="0"/>
  <p:cmAuthor id="647" name="不明使用者2" initials="不" lastIdx="2" clrIdx="0"/>
  <p:cmAuthor id="648" name="Heyhx" initials="H" lastIdx="1" clrIdx="647"/>
  <p:cmAuthor id="649" name="不明使用者4" initials="不" lastIdx="1" clrIdx="0"/>
  <p:cmAuthor id="650" name="不明使用者6" initials="不" lastIdx="1" clrIdx="0"/>
  <p:cmAuthor id="651" name="不明使用者5" initials="不" lastIdx="11" clrIdx="0"/>
  <p:cmAuthor id="652" name="未知用户296" initials="未" lastIdx="1" clrIdx="0"/>
  <p:cmAuthor id="653" name="不明使用者8" initials="不" lastIdx="43" clrIdx="1"/>
  <p:cmAuthor id="654" name="不明使用者9" initials="不" lastIdx="1" clrIdx="0"/>
  <p:cmAuthor id="655" name="不明使用者10" initials="不" lastIdx="0" clrIdx="0"/>
  <p:cmAuthor id="656" name="不明使用者11" initials="不" lastIdx="1" clrIdx="0"/>
  <p:cmAuthor id="657" name="Carol Wu" initials="C" lastIdx="1" clrIdx="0"/>
  <p:cmAuthor id="658" name="Think" initials="T" lastIdx="6" clrIdx="3"/>
  <p:cmAuthor id="660" name="未知用户304" initials="未" lastIdx="1" clrIdx="0"/>
  <p:cmAuthor id="661" name="未知用户305" initials="未" lastIdx="1" clrIdx="0"/>
  <p:cmAuthor id="662" name="敢 王" initials="敢" lastIdx="1" clrIdx="0"/>
  <p:cmAuthor id="663" name="邓 勇" initials="邓" lastIdx="1" clrIdx="0"/>
  <p:cmAuthor id="664" name="陈城" initials="陈" lastIdx="0" clrIdx="2"/>
  <p:cmAuthor id="665" name="未知用户309" initials="未" lastIdx="8" clrIdx="0"/>
  <p:cmAuthor id="667" name="未知用户311" initials="未" lastIdx="2" clrIdx="0"/>
  <p:cmAuthor id="668" name="未知用户312" initials="未" lastIdx="1" clrIdx="0"/>
  <p:cmAuthor id="670" name="未知用户314" initials="未" lastIdx="1" clrIdx="1"/>
  <p:cmAuthor id="671" name="晓  曲" initials="晓" lastIdx="1" clrIdx="0"/>
  <p:cmAuthor id="673" name="未知用户216" initials="未" lastIdx="1" clrIdx="0"/>
  <p:cmAuthor id="674" name="孟连磊" initials="孟" lastIdx="1" clrIdx="0"/>
  <p:cmAuthor id="676" name="未知的使用者177" initials="未" lastIdx="8" clrIdx="0"/>
  <p:cmAuthor id="343" name="娜娅" initials="娜" lastIdx="2" clrIdx="342"/>
  <p:cmAuthor id="353" name="崔彤欣" initials="崔" lastIdx="1" clrIdx="321"/>
  <p:cmAuthor id="372" name="未知的使用者144" initials="未" lastIdx="1" clrIdx="0"/>
  <p:cmAuthor id="373" name="未知的使用者145" initials="未" lastIdx="1" clrIdx="0"/>
  <p:cmAuthor id="374" name="未知的使用者146" initials="未" lastIdx="1" clrIdx="0"/>
  <p:cmAuthor id="375" name="未知的使用者147" initials="未" lastIdx="1" clrIdx="0"/>
  <p:cmAuthor id="390" name="未知的使用者201" initials="未" lastIdx="8" clrIdx="0"/>
  <p:cmAuthor id="396" name="未知的使用者222" initials="" lastIdx="5" clrIdx="1"/>
  <p:cmAuthor id="398" name="未知的使用者204" initials="未" lastIdx="1" clrIdx="0"/>
  <p:cmAuthor id="410" name="未知的使用者232" initials="" lastIdx="8" clrIdx="0"/>
  <p:cmAuthor id="415" name="未知用户184" initials="未" lastIdx="1" clrIdx="1"/>
  <p:cmAuthor id="419" name="未知用户182" initials="未" lastIdx="1" clrIdx="49"/>
  <p:cmAuthor id="420" name="未知用户204" initials="未" lastIdx="1" clrIdx="0"/>
  <p:cmAuthor id="421" name="未知用户205" initials="未" lastIdx="1" clrIdx="0"/>
  <p:cmAuthor id="423" name="未知用户194" initials="未" lastIdx="1" clrIdx="0"/>
  <p:cmAuthor id="424" name="未知用户187" initials="未" lastIdx="10" clrIdx="0"/>
  <p:cmAuthor id="426" name="留毓吟" initials="留" lastIdx="1" clrIdx="0"/>
  <p:cmAuthor id="427" name="王嘉偉" initials="王" lastIdx="2" clrIdx="0"/>
  <p:cmAuthor id="428" name="dcis" initials="d" lastIdx="4" clrIdx="0"/>
  <p:cmAuthor id="429" name="FanJQ" initials="F" lastIdx="1" clrIdx="1"/>
  <p:cmAuthor id="430" name="未知用户211" initials="未" lastIdx="8" clrIdx="0"/>
  <p:cmAuthor id="431" name="未知用户212" initials="未" lastIdx="8" clrIdx="0"/>
  <p:cmAuthor id="432" name="未知用户210" initials="未" lastIdx="1" clrIdx="0"/>
  <p:cmAuthor id="433" name="未知用户201" initials="未" lastIdx="8" clrIdx="0"/>
  <p:cmAuthor id="434" name="未知用户161" initials="未" lastIdx="1" clrIdx="0"/>
  <p:cmAuthor id="435" name="未知用户183" initials="未" lastIdx="1" clrIdx="0"/>
  <p:cmAuthor id="436" name="未知用户162" initials="未" lastIdx="1" clrIdx="0"/>
  <p:cmAuthor id="437" name="未知用户163" initials="未" lastIdx="8" clrIdx="0"/>
  <p:cmAuthor id="438" name="未知用户164" initials="未" lastIdx="1" clrIdx="0"/>
  <p:cmAuthor id="439" name="未知用户165" initials="未" lastIdx="2" clrIdx="0"/>
  <p:cmAuthor id="440" name="未知用户191" initials="未" lastIdx="1" clrIdx="0"/>
  <p:cmAuthor id="441" name="未知用户167" initials="未" lastIdx="1" clrIdx="0"/>
  <p:cmAuthor id="442" name="未知用户202" initials="未" lastIdx="8" clrIdx="0"/>
  <p:cmAuthor id="443" name="未知用户169" initials="未" lastIdx="1" clrIdx="0"/>
  <p:cmAuthor id="444" name="未知用户192" initials="未" lastIdx="1" clrIdx="0"/>
  <p:cmAuthor id="445" name="未知用户203" initials="未" lastIdx="1" clrIdx="1"/>
  <p:cmAuthor id="446" name="未知用户174" initials="未" lastIdx="1" clrIdx="0"/>
  <p:cmAuthor id="447" name="未知用户175" initials="未" lastIdx="1" clrIdx="0"/>
  <p:cmAuthor id="448" name="未知用户176" initials="未" lastIdx="1" clrIdx="0"/>
  <p:cmAuthor id="450" name="未知的使用者167" initials="未" lastIdx="0" clrIdx="1"/>
  <p:cmAuthor id="451" name="未知的使用者159" initials="未" lastIdx="1" clrIdx="1"/>
  <p:cmAuthor id="452" name="未知的使用者160" initials="未" lastIdx="1" clrIdx="0"/>
  <p:cmAuthor id="453" name="未知的使用者168" initials="未" lastIdx="1" clrIdx="0"/>
  <p:cmAuthor id="454" name="不明使用者7" initials="不" lastIdx="7" clrIdx="1"/>
  <p:cmAuthor id="455" name="未知用户120" initials="未" lastIdx="1" clrIdx="0"/>
  <p:cmAuthor id="456" name="未知用户122" initials="未" lastIdx="1" clrIdx="0"/>
  <p:cmAuthor id="457" name="未知用户132" initials="未" lastIdx="1" clrIdx="0"/>
  <p:cmAuthor id="461" name="未知用户145" initials="未" lastIdx="2" clrIdx="0"/>
  <p:cmAuthor id="462" name="未知用户119" initials="未" lastIdx="1" clrIdx="1"/>
  <p:cmAuthor id="463" name="未知用户140" initials="未" lastIdx="0" clrIdx="1"/>
  <p:cmAuthor id="471" name="未知用户287" initials="未" lastIdx="0" clrIdx="1"/>
  <p:cmAuthor id="472" name="未知用户288" initials="未" lastIdx="1" clrIdx="0"/>
  <p:cmAuthor id="473" name="未知用户289" initials="未" lastIdx="1" clrIdx="0"/>
  <p:cmAuthor id="474" name="未知用户206" initials="未" lastIdx="6" clrIdx="0"/>
  <p:cmAuthor id="478" name="nancy" initials="n" lastIdx="1" clrIdx="0"/>
  <p:cmAuthor id="479" name="未知用户166" initials="未" lastIdx="1" clrIdx="0"/>
  <p:cmAuthor id="480" name="未知用户195" initials="未" lastIdx="1" clrIdx="0"/>
  <p:cmAuthor id="481" name="未知用户207" initials="未" lastIdx="3" clrIdx="1"/>
  <p:cmAuthor id="482" name="未知的使用者207" initials="未" lastIdx="1" clrIdx="0"/>
  <p:cmAuthor id="483" name="未知的使用者208" initials="未" lastIdx="1" clrIdx="0"/>
  <p:cmAuthor id="484" name="未知的使用者188" initials="未" lastIdx="1" clrIdx="0"/>
  <p:cmAuthor id="485" name="未知的使用者189" initials="未" lastIdx="2" clrIdx="0"/>
  <p:cmAuthor id="486" name="未知的使用者190" initials="未" lastIdx="1" clrIdx="1"/>
  <p:cmAuthor id="487" name="未知的使用者191" initials="未" lastIdx="1" clrIdx="0"/>
  <p:cmAuthor id="488" name="未知的使用者192" initials="未" lastIdx="1" clrIdx="0"/>
  <p:cmAuthor id="489" name="未知的使用者193" initials="未" lastIdx="2" clrIdx="0"/>
  <p:cmAuthor id="491" name="未知的使用者210" initials="未" lastIdx="1" clrIdx="0"/>
  <p:cmAuthor id="492" name="未知的使用者211" initials="未" lastIdx="1" clrIdx="0"/>
  <p:cmAuthor id="493" name="未知的使用者212" initials="未" lastIdx="11" clrIdx="0"/>
  <p:cmAuthor id="494" name="未知的使用者213" initials="未" lastIdx="7" clrIdx="1"/>
  <p:cmAuthor id="495" name="未知的使用者214" initials="未" lastIdx="1" clrIdx="2"/>
  <p:cmAuthor id="496" name="未知的使用者215" initials="未" lastIdx="1" clrIdx="0"/>
  <p:cmAuthor id="497" name="未知的使用者216" initials="未" lastIdx="1" clrIdx="0"/>
  <p:cmAuthor id="498" name="未知的使用者217" initials="未" lastIdx="1" clrIdx="1"/>
  <p:cmAuthor id="499" name="未知的使用者218" initials="未" lastIdx="1" clrIdx="0"/>
  <p:cmAuthor id="500" name="未知的使用者219" initials="未" lastIdx="2" clrIdx="0"/>
  <p:cmAuthor id="501" name="未知的使用者220" initials="未" lastIdx="7" clrIdx="1"/>
  <p:cmAuthor id="502" name="未知的使用者153" initials="未" lastIdx="1" clrIdx="0"/>
  <p:cmAuthor id="503" name="未知的使用者154" initials="未" lastIdx="1" clrIdx="0"/>
  <p:cmAuthor id="506" name="未知的使用者129" initials="未" lastIdx="1" clrIdx="0"/>
  <p:cmAuthor id="507" name="未知的使用者130" initials="未" lastIdx="8" clrIdx="0"/>
  <p:cmAuthor id="508" name="未知的使用者131" initials="未" lastIdx="2" clrIdx="0"/>
  <p:cmAuthor id="510" name="未知的使用者164" initials="未" lastIdx="8" clrIdx="0"/>
  <p:cmAuthor id="511" name="未知的使用者172" initials="未" lastIdx="1" clrIdx="0"/>
  <p:cmAuthor id="512" name="未知的使用者174" initials="未" lastIdx="1" clrIdx="0"/>
  <p:cmAuthor id="513" name="未知的使用者247" initials="未" lastIdx="6" clrIdx="0"/>
  <p:cmAuthor id="514" name="未知的使用者249" initials="未" lastIdx="43" clrIdx="1"/>
  <p:cmAuthor id="515" name="未知的使用者250" initials="未" lastIdx="1" clrIdx="0"/>
  <p:cmAuthor id="516" name="未知的使用者251" initials="未" lastIdx="1" clrIdx="0"/>
  <p:cmAuthor id="517" name="未知的使用者246" initials="未" lastIdx="1" clrIdx="1"/>
  <p:cmAuthor id="518" name="未知的使用者224" initials="未" lastIdx="1" clrIdx="0"/>
  <p:cmAuthor id="519" name="未知的使用者252" initials="未" lastIdx="1" clrIdx="0"/>
  <p:cmAuthor id="520" name="未知的使用者253" initials="未" lastIdx="1" clrIdx="0"/>
  <p:cmAuthor id="521" name="未知的使用者254" initials="未" lastIdx="1" clrIdx="0"/>
  <p:cmAuthor id="522" name="未知的使用者255" initials="未" lastIdx="1" clrIdx="0"/>
  <p:cmAuthor id="523" name="未知的使用者226" initials="未" lastIdx="8" clrIdx="0"/>
  <p:cmAuthor id="524" name="未知的使用者227" initials="未" lastIdx="2" clrIdx="0"/>
  <p:cmAuthor id="525" name="未知的使用者270" initials="未" lastIdx="1" clrIdx="0"/>
  <p:cmAuthor id="526" name="未知的使用者228" initials="未" lastIdx="8" clrIdx="0"/>
  <p:cmAuthor id="527" name="未知的使用者229" initials="未" lastIdx="8" clrIdx="0"/>
  <p:cmAuthor id="528" name="未知的使用者230" initials="未" lastIdx="1" clrIdx="0"/>
  <p:cmAuthor id="529" name="未知的使用者231" initials="未" lastIdx="1" clrIdx="0"/>
  <p:cmAuthor id="530" name="未知的使用者256" initials="未" lastIdx="1" clrIdx="0"/>
  <p:cmAuthor id="531" name="未知的使用者233" initials="未" lastIdx="1" clrIdx="0"/>
  <p:cmAuthor id="532" name="未知的使用者234" initials="未" lastIdx="10" clrIdx="0"/>
  <p:cmAuthor id="533" name="未知的使用者235" initials="未" lastIdx="1" clrIdx="0"/>
  <p:cmAuthor id="534" name="未知的使用者236" initials="未" lastIdx="1" clrIdx="0"/>
  <p:cmAuthor id="536" name="未知的使用者237" initials="未" lastIdx="1" clrIdx="0"/>
  <p:cmAuthor id="537" name="未知的使用者238" initials="未" lastIdx="2" clrIdx="0"/>
  <p:cmAuthor id="538" name="未知的使用者239" initials="未" lastIdx="1" clrIdx="1"/>
  <p:cmAuthor id="659" name="卞珊珊" initials="卞" lastIdx="1" clrIdx="658"/>
  <p:cmAuthor id="29922660" name="杨强" initials="杨" lastIdx="0" clrIdx="0"/>
  <p:cmAuthor id="29922661" name="檀晟 陈" initials="檀晟" lastIdx="1" clrIdx="10"/>
  <p:cmAuthor id="146566727" name="xzb1" initials="x" lastIdx="1" clrIdx="1"/>
  <p:cmAuthor id="381437688" name="谢学斌" initials="谢" lastIdx="0" clrIdx="0"/>
  <p:cmAuthor id="394525612" name="peng Terry" initials="pT" lastIdx="1" clrIdx="23"/>
  <p:cmAuthor id="708433798" name="jialuo" initials="j" lastIdx="0" clrIdx="0"/>
  <p:cmAuthor id="1714045600" name="梁易彤" initials="梁" lastIdx="2" clrIdx="3"/>
  <p:cmAuthor id="1680224168" name="王世杰" initials="王" lastIdx="1" clrIdx="0"/>
  <p:cmAuthor id="699705844" name="龚雪堂" initials="龚" lastIdx="1" clrIdx="0"/>
  <p:cmAuthor id="1672656478" name="潘玉龙" initials="潘" lastIdx="1" clrIdx="1"/>
  <p:cmAuthor id="1680220159" name="朱飞雄" initials="朱" lastIdx="1" clrIdx="0"/>
  <p:cmAuthor id="1681615627" name="杨奉庆" initials="杨" lastIdx="3" clrIdx="1"/>
  <p:cmAuthor id="212306334" name="二宁" initials="二" lastIdx="1" clrIdx="6"/>
  <p:cmAuthor id="1364684482" name="WPS_1650174715" initials="W" lastIdx="1" clrIdx="0"/>
  <p:cmAuthor id="1685526015" name="丁世坤" initials="丁" lastIdx="2" clrIdx="0"/>
  <p:cmAuthor id="1682083299" name="吴义俊" initials="吴" lastIdx="1" clrIdx="0"/>
  <p:cmAuthor id="1680220790" name="司广东" initials="司" lastIdx="1" clrIdx="0"/>
  <p:cmAuthor id="1672656395" name="陈梦雨" initials="陈" lastIdx="1" clrIdx="16"/>
  <p:cmAuthor id="1681620598" name="王龙洲 Longzhou Wang (大卓智能" initials="王龙洲" lastIdx="1" clrIdx="3"/>
  <p:cmAuthor id="1672656099" name="方旭飞" initials="方" lastIdx="1" clrIdx="8"/>
  <p:cmAuthor id="1680216693" name="张睿强" initials="张" lastIdx="1" clrIdx="9"/>
  <p:cmAuthor id="1682103355" name="李坤键" initials="李" lastIdx="3" clrIdx="0"/>
  <p:cmAuthor id="563" name="Raden" initials="R" lastIdx="1" clrIdx="86"/>
  <p:cmAuthor id="618" name="Microsoft Office User" initials="M" lastIdx="2" clrIdx="86"/>
  <p:cmAuthor id="624" name="赵 璐" initials="赵" lastIdx="4" clrIdx="0"/>
  <p:cmAuthor id="632" name="未知的使用者143" initials="未" lastIdx="1" clrIdx="0"/>
  <p:cmAuthor id="634" name="未知的使用者155" initials="未" lastIdx="1" clrIdx="0"/>
  <p:cmAuthor id="794703934" name="姊雨晨風" initials="姊" lastIdx="1" clrIdx="1"/>
  <p:cmAuthor id="388" name="未知用户177" initials="未" lastIdx="2" clrIdx="0"/>
  <p:cmAuthor id="404" name="未知用户190" initials="未" lastIdx="1" clrIdx="1"/>
  <p:cmAuthor id="406" name="未知用户196" initials="未" lastIdx="1" clrIdx="0"/>
  <p:cmAuthor id="413" name="未知用户186" initials="未" lastIdx="1" clrIdx="0"/>
  <p:cmAuthor id="449" name="未知的使用者166" initials="未" lastIdx="8" clrIdx="0"/>
  <p:cmAuthor id="470" name="未知用户208" initials="未" lastIdx="1" clrIdx="0"/>
  <p:cmAuthor id="553" name="刘晖" initials="刘" lastIdx="1" clrIdx="0"/>
  <p:cmAuthor id="554" name="未知用户112" initials="未" lastIdx="1" clrIdx="0"/>
  <p:cmAuthor id="1684929069" name="万涛" initials="万" lastIdx="1" clrIdx="0"/>
  <p:cmAuthor id="1683547234" name="温喆" initials="温" lastIdx="1" clrIdx="1"/>
  <p:cmAuthor id="1682078341" name="王凯帆" initials="王" lastIdx="1" clrIdx="1"/>
  <p:cmAuthor id="1681615028" name="曾子龙" initials="曾" lastIdx="1" clrIdx="1"/>
  <p:cmAuthor id="1672656374" name="李云和" initials="李" lastIdx="2" clrIdx="2"/>
  <p:cmAuthor id="2007" name="李忻雨-市场中心_F773zyU3" initials="authorId_1320671970" lastIdx="1648570292" clrIdx="0"/>
  <p:cmAuthor id="210353301" name="周畅" initials="周" lastIdx="1" clrIdx="313"/>
  <p:cmAuthor id="357" name="未知用户111" initials="未" lastIdx="1" clrIdx="1"/>
  <p:cmAuthor id="1681618842" name="詹文静" initials="詹" lastIdx="1" clrIdx="4"/>
  <p:cmAuthor id="1681618589" name="姜婷" initials="姜" lastIdx="2" clrIdx="375"/>
  <p:cmAuthor id="1004336799" name="Ivan" initials="I" lastIdx="1" clrIdx="380"/>
  <p:cmAuthor id="1682090534" name="李正" initials="李" lastIdx="1" clrIdx="0"/>
  <p:cmAuthor id="1701850551" name="贾晓明" initials="贾" lastIdx="1" clrIdx="2"/>
  <p:cmAuthor id="1672657337" name="吴颖" initials="吴" lastIdx="2" clrIdx="354"/>
  <p:cmAuthor id="1672656747" name="李雪松" initials="李" lastIdx="3" clrIdx="7"/>
  <p:cmAuthor id="49837069" name="he zhirui" initials="hz" lastIdx="1" clrIdx="82"/>
  <p:cmAuthor id="49837070" name="伟哥" initials="伟哥" lastIdx="1" clrIdx="138"/>
  <p:cmAuthor id="236736580" name="何凌萱" initials="何" lastIdx="2" clrIdx="5"/>
  <p:cmAuthor id="236736581" name="立鑫 程" initials="立鑫" lastIdx="1" clrIdx="318"/>
  <p:cmAuthor id="1682096380" name="信逸轩" initials="信" lastIdx="1" clrIdx="3"/>
  <p:cmAuthor id="541275612" name="FRIDAY" initials="F" lastIdx="3" clrIdx="422"/>
  <p:cmAuthor id="1683541456" name="赵飞" initials="赵" lastIdx="1" clrIdx="0"/>
  <p:cmAuthor id="261593343" name="小天使" initials="小" lastIdx="1" clrIdx="2"/>
  <p:cmAuthor id="261593344" name="王枫 Feng Wang （星途品牌国内业务事业部）" initials="王枫" lastIdx="1" clrIdx="5"/>
  <p:cmAuthor id="223645533" name="焦旭冬" initials="焦" lastIdx="1" clrIdx="1"/>
  <p:cmAuthor id="207710950" name="雷雨欣" initials="雷" lastIdx="1" clrIdx="14"/>
  <p:cmAuthor id="207710951" name="xin" initials="x" lastIdx="1" clrIdx="15"/>
  <p:cmAuthor id="1676282712" name="周子尧" initials="周" lastIdx="1" clrIdx="2"/>
  <p:cmAuthor id="362422977" name="mogul" initials="m" lastIdx="2" clrIdx="0"/>
  <p:cmAuthor id="277230732" name="狂野的狼" initials="狂" lastIdx="1" clrIdx="424"/>
  <p:cmAuthor id="1682303606" name="章逸斌" initials="章" lastIdx="1" clrIdx="0"/>
  <p:cmAuthor id="250876006" name="彪，彪～" initials="彪" lastIdx="2" clrIdx="427"/>
  <p:cmAuthor id="669505514" name="@Ye航" initials="@" lastIdx="1" clrIdx="0"/>
  <p:cmAuthor id="1712603611" name="黄春旭" initials="黄" lastIdx="1" clrIdx="215"/>
  <p:cmAuthor id="1683903693" name="刘庆芳" initials="刘" lastIdx="2" clrIdx="0"/>
  <p:cmAuthor id="341200866" name="K&amp;H后来的凯文" initials="K" lastIdx="1" clrIdx="0"/>
  <p:cmAuthor id="341200867" name="吕春伟 Chunwei Lv (捷途品牌事业部)" initials="吕春伟" lastIdx="1" clrIdx="2"/>
  <p:cmAuthor id="1680218434" name="虞红海" initials="虞" lastIdx="1" clrIdx="0"/>
  <p:cmAuthor id="1710497450" name="高汉阳" initials="高" lastIdx="1" clrIdx="367"/>
  <p:cmAuthor id="1680226229" name="李伟" initials="李" lastIdx="1" clrIdx="1"/>
  <p:cmAuthor id="1682090442" name="沈宗双" initials="沈" lastIdx="1" clrIdx="0"/>
  <p:cmAuthor id="1570588532" name="三月秋" initials="三" lastIdx="1" clrIdx="338"/>
  <p:cmAuthor id="786085232" name="晓诸" initials="晓" lastIdx="3" clrIdx="4"/>
  <p:cmAuthor id="1682108291" name="程艳艳" initials="程" lastIdx="1" clrIdx="1"/>
  <p:cmAuthor id="1680217422" name="夏小霞" initials="夏" lastIdx="1" clrIdx="6"/>
  <p:cmAuthor id="1682079606" name="杨帆" initials="杨" lastIdx="1" clrIdx="320"/>
  <p:cmAuthor id="1682087419" name="戴荣" initials="戴" lastIdx="1" clrIdx="1"/>
  <p:cmAuthor id="1683544160" name="Z Z" initials="ZZ" lastIdx="1" clrIdx="321"/>
  <p:cmAuthor id="462875356" name="Laura" initials="" lastIdx="1" clrIdx="2"/>
  <p:cmAuthor id="830502701" name="荆九" initials="荆" lastIdx="1" clrIdx="0"/>
  <p:cmAuthor id="1683901926" name="吴立" initials="吴" lastIdx="1" clrIdx="0"/>
  <p:cmAuthor id="1725451362" name="李贤伟" initials="李" lastIdx="1" clrIdx="4"/>
  <p:cmAuthor id="596181807" name="kkkkkk" initials="k" lastIdx="1" clrIdx="61"/>
  <p:cmAuthor id="363" name="未知的使用者39" initials="未" lastIdx="10" clrIdx="0"/>
  <p:cmAuthor id="364" name="Arno.Du(杜明星)" initials="A" lastIdx="0" clrIdx="0"/>
  <p:cmAuthor id="367" name="zhangbin" initials="z" lastIdx="6" clrIdx="0"/>
  <p:cmAuthor id="309377123" name="A" initials="A" lastIdx="1" clrIdx="58"/>
  <p:cmAuthor id="1680224377" name="马兵" initials="马" lastIdx="1" clrIdx="503"/>
  <p:cmAuthor id="644532578" name="赵小宝" initials="赵" lastIdx="1" clrIdx="0"/>
  <p:cmAuthor id="1682081131" name="邵聪聪" initials="邵" lastIdx="1" clrIdx="0"/>
  <p:cmAuthor id="1672657417" name="刘舒扬" initials="刘" lastIdx="1" clrIdx="17"/>
  <p:cmAuthor id="1725909734" name="黄诗鹭" initials="黄" lastIdx="29" clrIdx="3"/>
  <p:cmAuthor id="1672657037" name="闻致远" initials="闻" lastIdx="1" clrIdx="1"/>
  <p:cmAuthor id="1672657412" name="蒋甘霖" initials="蒋" lastIdx="1" clrIdx="3"/>
  <p:cmAuthor id="1682303632" name="蒋博文" initials="蒋" lastIdx="2" clrIdx="0"/>
  <p:cmAuthor id="1682104554" name="孟月" initials="孟" lastIdx="1" clrIdx="0"/>
  <p:cmAuthor id="1682089390" name="吴正阔" initials="吴" lastIdx="5" clrIdx="0"/>
  <p:cmAuthor id="11395518" name="kuku1977126com" initials="k" lastIdx="1" clrIdx="0"/>
  <p:cmAuthor id="1672657518" name="彭鸿飞" initials="彭" lastIdx="2" clrIdx="3"/>
  <p:cmAuthor id="1672656914" name="马林阁" initials="马" lastIdx="1" clrIdx="1"/>
  <p:cmAuthor id="1672655122" name="肖俊" initials="肖" lastIdx="1" clrIdx="4"/>
  <p:cmAuthor id="1672655094" name="胡尔聪" initials="胡" lastIdx="1" clrIdx="0"/>
  <p:cmAuthor id="1682093248" name="汪媛媛" initials="汪" lastIdx="2" clrIdx="1"/>
  <p:cmAuthor id="1674852782" name="张家星" initials="张" lastIdx="1" clrIdx="2"/>
  <p:cmAuthor id="1675002930" name="莫达琳" initials="莫" lastIdx="1" clrIdx="4"/>
  <p:cmAuthor id="1674852815" name="陈凯" initials="陈" lastIdx="2" clrIdx="2"/>
  <p:cmAuthor id="1672655105" name="胡福龙" initials="胡" lastIdx="1" clrIdx="356"/>
  <p:cmAuthor id="465" name="潘艳" initials="u" lastIdx="0" clrIdx="464"/>
  <p:cmAuthor id="467" name="肖 士乐" initials="肖" lastIdx="0" clrIdx="466"/>
  <p:cmAuthor id="1672656194" name="王艳辉" initials="王" lastIdx="1" clrIdx="1"/>
  <p:cmAuthor id="1680225102" name="蔡灼金" initials="蔡" lastIdx="1" clrIdx="4"/>
  <p:cmAuthor id="1672657350" name="刘锁" initials="刘" lastIdx="1" clrIdx="5"/>
  <p:cmAuthor id="1672657103" name="李森" initials="李" lastIdx="1" clrIdx="4"/>
  <p:cmAuthor id="1686949849" name="梁员新" initials="梁" lastIdx="1" clrIdx="1"/>
  <p:cmAuthor id="1672657061" name="夏洁" initials="夏" lastIdx="3" clrIdx="1"/>
  <p:cmAuthor id="1672657530" name="汪子慧" initials="汪" lastIdx="1" clrIdx="1"/>
  <p:cmAuthor id="1672657288" name="杨尧" initials="杨" lastIdx="1" clrIdx="7"/>
  <p:cmAuthor id="1703930639" name="干润华" initials="干" lastIdx="1" clrIdx="2"/>
  <p:cmAuthor id="982215693" name="知了" initials="知" lastIdx="1" clrIdx="0"/>
  <p:cmAuthor id="1672657628" name="吕微" initials="吕" lastIdx="1" clrIdx="12"/>
  <p:cmAuthor id="1672655929" name="吕涛涛" initials="吕" lastIdx="1" clrIdx="2"/>
  <p:cmAuthor id="766729485" name="Musica Sun" initials="M" lastIdx="1" clrIdx="6"/>
  <p:cmAuthor id="475" name="钱玏轩" initials="钱" lastIdx="0" clrIdx="474"/>
  <p:cmAuthor id="200777938" name="许业" initials="许" lastIdx="1" clrIdx="27"/>
  <p:cmAuthor id="1682301467" name="张家龙" initials="张" lastIdx="1" clrIdx="0"/>
  <p:cmAuthor id="1676282730" name="潘秀芳" initials="潘" lastIdx="1" clrIdx="19"/>
  <p:cmAuthor id="428096992" name="le.万嵗 爺" initials="l" lastIdx="1" clrIdx="2"/>
  <p:cmAuthor id="1682096111" name="王彩璐" initials="王" lastIdx="1" clrIdx="462"/>
  <p:cmAuthor id="1676798125" name="黄美琳" initials="黄" lastIdx="1" clrIdx="462"/>
  <p:cmAuthor id="1682109974" name="蔡亮" initials="蔡" lastIdx="1" clrIdx="379"/>
  <p:cmAuthor id="1719542561" name="吕光龙" initials="吕" lastIdx="1" clrIdx="1"/>
  <p:cmAuthor id="1725696907" name="孙士杰" initials="孙" lastIdx="1" clrIdx="465"/>
  <p:cmAuthor id="1681615092" name="刘淑梅" initials="刘" lastIdx="1" clrIdx="1"/>
  <p:cmAuthor id="1716582501" name="黄峻" initials="黄" lastIdx="1" clrIdx="483"/>
  <p:cmAuthor id="1672656415" name="张梦璐" initials="张" lastIdx="1" clrIdx="7"/>
  <p:cmAuthor id="1674852810" name="甘锡峰" initials="甘" lastIdx="1" clrIdx="351"/>
  <p:cmAuthor id="1672858977" name="閤文婷" initials="閤" lastIdx="1" clrIdx="400"/>
  <p:cmAuthor id="1710632451" name="高大明" initials="高" lastIdx="1" clrIdx="1"/>
  <p:cmAuthor id="1696893392" name="吴选锋" initials="吴" lastIdx="2" clrIdx="0"/>
  <p:cmAuthor id="797" name="未知用户443" initials="未" lastIdx="1" clrIdx="0"/>
  <p:cmAuthor id="798" name="未知用户411" initials="未" lastIdx="3" clrIdx="1"/>
  <p:cmAuthor id="799" name="未知用户444" initials="未" lastIdx="6" clrIdx="0"/>
  <p:cmAuthor id="800" name="未知用户413" initials="未" lastIdx="1" clrIdx="1"/>
  <p:cmAuthor id="801" name="未知用户445" initials="未" lastIdx="1" clrIdx="0"/>
  <p:cmAuthor id="803" name="未知用户447" initials="未" lastIdx="1" clrIdx="0"/>
  <p:cmAuthor id="804" name="未知用户448" initials="未" lastIdx="1" clrIdx="0"/>
  <p:cmAuthor id="805" name="未知用户333" initials="未" lastIdx="1" clrIdx="0"/>
  <p:cmAuthor id="806" name="未知用户417" initials="未" lastIdx="1" clrIdx="0"/>
  <p:cmAuthor id="807" name="未知用户449" initials="未" lastIdx="1" clrIdx="0"/>
  <p:cmAuthor id="808" name="未知用户418" initials="未" lastIdx="1" clrIdx="0"/>
  <p:cmAuthor id="809" name="未知用户450" initials="未" lastIdx="6" clrIdx="0"/>
  <p:cmAuthor id="810" name="未知用户423" initials="未" lastIdx="0" clrIdx="0"/>
  <p:cmAuthor id="811" name="未知用户424" initials="未" lastIdx="5" clrIdx="0"/>
  <p:cmAuthor id="812" name="未知用户425" initials="未" lastIdx="3" clrIdx="1"/>
  <p:cmAuthor id="813" name="未知用户451" initials="未" lastIdx="1" clrIdx="0"/>
  <p:cmAuthor id="814" name="未知用户452" initials="未" lastIdx="1" clrIdx="0"/>
  <p:cmAuthor id="815" name="未知用户453" initials="未" lastIdx="1" clrIdx="0"/>
  <p:cmAuthor id="816" name="未知用户454" initials="未" lastIdx="1" clrIdx="2"/>
  <p:cmAuthor id="817" name="未知用户455" initials="未" lastIdx="1" clrIdx="0"/>
  <p:cmAuthor id="818" name="未知用户456" initials="未" lastIdx="1" clrIdx="0"/>
  <p:cmAuthor id="819" name="未知用户457" initials="未" lastIdx="10" clrIdx="0"/>
  <p:cmAuthor id="820" name="未知用户458" initials="未" lastIdx="1" clrIdx="0"/>
  <p:cmAuthor id="821" name="風輕 雲淡" initials="風輕" lastIdx="1" clrIdx="511"/>
  <p:cmAuthor id="823" name="李 芳怡" initials="李" lastIdx="2" clrIdx="722"/>
  <p:cmAuthor id="824" name="俊強 詹" initials="俊強" lastIdx="1" clrIdx="547"/>
  <p:cmAuthor id="830" name="Jack" initials="J" lastIdx="1" clrIdx="829"/>
  <p:cmAuthor id="856" name="未知用户259" initials="未" lastIdx="1" clrIdx="0"/>
  <p:cmAuthor id="864" name="未知用户270" initials="未" lastIdx="1" clrIdx="0"/>
  <p:cmAuthor id="868" name="俊呈 賴" initials="俊" lastIdx="1" clrIdx="87"/>
  <p:cmAuthor id="871" name="Nero" initials="N" lastIdx="2" clrIdx="0"/>
  <p:cmAuthor id="872" name="yifan song" initials="y" lastIdx="1" clrIdx="85"/>
  <p:cmAuthor id="875" name="v15194" initials="v" lastIdx="13" clrIdx="51"/>
  <p:cmAuthor id="878" name="未知的使用者97" initials="未" lastIdx="1" clrIdx="0"/>
  <p:cmAuthor id="879" name="陳建璋" initials="陳" lastIdx="2" clrIdx="85"/>
  <p:cmAuthor id="880" name="建璋" initials="建" lastIdx="1" clrIdx="86"/>
  <p:cmAuthor id="882" name="77482" initials="7" lastIdx="2" clrIdx="548"/>
  <p:cmAuthor id="883" name="未知用户265" initials="未" lastIdx="2" clrIdx="0"/>
  <p:cmAuthor id="884" name="未知用户267" initials="未" lastIdx="1" clrIdx="0"/>
  <p:cmAuthor id="885" name="liuxie" initials="l" lastIdx="1" clrIdx="588"/>
  <p:cmAuthor id="890" name="未知用户227" initials="未" lastIdx="1" clrIdx="0"/>
  <p:cmAuthor id="893" name="未知用户300" initials="未" lastIdx="8" clrIdx="0"/>
  <p:cmAuthor id="898" name="許詩婕" initials="許" lastIdx="1" clrIdx="1"/>
  <p:cmAuthor id="900" name="minil" initials="m" lastIdx="4" clrIdx="589"/>
  <p:cmAuthor id="901" name="15106" initials="1" lastIdx="4" clrIdx="0"/>
  <p:cmAuthor id="904" name="Zhu, Hawk" initials="Z" lastIdx="1" clrIdx="0"/>
  <p:cmAuthor id="905" name="tanjp" initials="t" lastIdx="0" clrIdx="491"/>
  <p:cmAuthor id="906" name="YS" initials="Y" lastIdx="1" clrIdx="86"/>
  <p:cmAuthor id="910" name="Jdi" initials="J" lastIdx="0" clrIdx="0"/>
  <p:cmAuthor id="911" name="未知用户337" initials="未" lastIdx="1" clrIdx="0"/>
  <p:cmAuthor id="913" name="chenmh" initials="c" lastIdx="1" clrIdx="85"/>
  <p:cmAuthor id="914" name="CVTEr" initials="C" lastIdx="1" clrIdx="0"/>
  <p:cmAuthor id="915" name="June C" initials="J" lastIdx="1" clrIdx="4"/>
  <p:cmAuthor id="916" name="00270" initials="0" lastIdx="1" clrIdx="0"/>
  <p:cmAuthor id="917" name="IBM_USER" initials="I" lastIdx="4" clrIdx="1"/>
  <p:cmAuthor id="918" name="aa" initials="a" lastIdx="10" clrIdx="9"/>
  <p:cmAuthor id="919" name="shinevin liu" initials="s" lastIdx="1" clrIdx="3"/>
  <p:cmAuthor id="920" name="Davidpeng" initials="D" lastIdx="1" clrIdx="10"/>
  <p:cmAuthor id="921" name="dbc" initials="d" lastIdx="2" clrIdx="0"/>
  <p:cmAuthor id="922" name="吴军影" initials="吴" lastIdx="10" clrIdx="0"/>
  <p:cmAuthor id="923" name="冯学沛" initials="冯" lastIdx="1" clrIdx="1"/>
  <p:cmAuthor id="924" name="杨 超" initials="杨" lastIdx="1" clrIdx="3"/>
  <p:cmAuthor id="926" name="Rex" initials="R" lastIdx="0" clrIdx="0"/>
  <p:cmAuthor id="909843623" name="张超杰" initials="张" lastIdx="1" clrIdx="7"/>
  <p:cmAuthor id="1310167215" name="蒋伟" initials="蒋" lastIdx="2" clrIdx="350"/>
  <p:cmAuthor id="565" name="未知用户20" initials="未" lastIdx="1" clrIdx="0"/>
  <p:cmAuthor id="607" name="未知的使用者194" initials="未" lastIdx="1" clrIdx="0"/>
  <p:cmAuthor id="609" name="未知的使用者202" initials="未" lastIdx="0" clrIdx="1"/>
  <p:cmAuthor id="666" name="未知的使用者221" initials="未" lastIdx="1" clrIdx="0"/>
  <p:cmAuthor id="669" name="王鑫慧" initials="王" lastIdx="1" clrIdx="0"/>
  <p:cmAuthor id="677" name="Sharon" initials="S" lastIdx="1" clrIdx="2"/>
  <p:cmAuthor id="680" name="未知的使用者223" initials="未" lastIdx="1" clrIdx="1"/>
  <p:cmAuthor id="681" name="未知的使用者225" initials="未" lastIdx="1" clrIdx="0"/>
  <p:cmAuthor id="683" name="未知用户217" initials="未" lastIdx="1" clrIdx="0"/>
  <p:cmAuthor id="684" name="13683" initials="1" lastIdx="1" clrIdx="683"/>
  <p:cmAuthor id="687" name="yesg" initials="y" lastIdx="1" clrIdx="0"/>
  <p:cmAuthor id="688" name="annie.gts@outlook.com" initials="a" lastIdx="2" clrIdx="0"/>
  <p:cmAuthor id="689" name="frankyang" initials="f" lastIdx="1" clrIdx="136"/>
  <p:cmAuthor id="693" name="lxm" initials="l" lastIdx="1" clrIdx="413"/>
  <p:cmAuthor id="702" name="Tome" initials="T" lastIdx="1" clrIdx="85"/>
  <p:cmAuthor id="703" name="gusong ye" initials="g" lastIdx="1" clrIdx="1"/>
  <p:cmAuthor id="704" name="未知用户260" initials="未" lastIdx="2" clrIdx="0"/>
  <p:cmAuthor id="705" name="未知用户261" initials="未" lastIdx="1" clrIdx="0"/>
  <p:cmAuthor id="706" name="未知用户262" initials="未" lastIdx="1" clrIdx="0"/>
  <p:cmAuthor id="707" name="未知用户263" initials="未" lastIdx="8" clrIdx="0"/>
  <p:cmAuthor id="708" name="未知用户248" initials="未" lastIdx="1" clrIdx="0"/>
  <p:cmAuthor id="709" name="俊晔 邱" initials="俊" lastIdx="1" clrIdx="87"/>
  <p:cmAuthor id="710" name="未知用户277" initials="未" lastIdx="1" clrIdx="1"/>
  <p:cmAuthor id="711" name="未知用户257" initials="未" lastIdx="1" clrIdx="0"/>
  <p:cmAuthor id="712" name="未知用户316" initials="未" lastIdx="1" clrIdx="0"/>
  <p:cmAuthor id="713" name="未知用户230" initials="未" lastIdx="1" clrIdx="0"/>
  <p:cmAuthor id="714" name="未知用户318" initials="未" lastIdx="0" clrIdx="1"/>
  <p:cmAuthor id="715" name="未知用户266" initials="未" lastIdx="1" clrIdx="1"/>
  <p:cmAuthor id="717" name="Ying Lou" initials="Y" lastIdx="1" clrIdx="187"/>
  <p:cmAuthor id="718" name="刘佳佳" initials="刘" lastIdx="1" clrIdx="333"/>
  <p:cmAuthor id="719" name="未知用户241" initials="未" lastIdx="0" clrIdx="1"/>
  <p:cmAuthor id="720" name="未知用户242" initials="未" lastIdx="3" clrIdx="0"/>
  <p:cmAuthor id="721" name="未知用户244" initials="未" lastIdx="1" clrIdx="0"/>
  <p:cmAuthor id="722" name="未知用户245" initials="未" lastIdx="10" clrIdx="0"/>
  <p:cmAuthor id="723" name="莊安君" initials="莊" lastIdx="1" clrIdx="65"/>
  <p:cmAuthor id="724" name="未知用户459" initials="未" lastIdx="1" clrIdx="84"/>
  <p:cmAuthor id="725" name="未知用户246" initials="未" lastIdx="1" clrIdx="0"/>
  <p:cmAuthor id="726" name="未知用户325" initials="未" lastIdx="1" clrIdx="1"/>
  <p:cmAuthor id="727" name="wxh" initials="w" lastIdx="5" clrIdx="0"/>
  <p:cmAuthor id="728" name="heweia@digiwin.com" initials="h" lastIdx="1" clrIdx="86"/>
  <p:cmAuthor id="729" name="MM" initials="M" lastIdx="2" clrIdx="87"/>
  <p:cmAuthor id="730" name="未知用户229" initials="未" lastIdx="1" clrIdx="0"/>
  <p:cmAuthor id="732" name="未知用户269" initials="未" lastIdx="2" clrIdx="0"/>
  <p:cmAuthor id="733" name="未知用户250" initials="未" lastIdx="0" clrIdx="0"/>
  <p:cmAuthor id="734" name="未知用户272" initials="未" lastIdx="10" clrIdx="0"/>
  <p:cmAuthor id="735" name="未知用户321" initials="未" lastIdx="1" clrIdx="0"/>
  <p:cmAuthor id="736" name="未知用户323" initials="未" lastIdx="1" clrIdx="0"/>
  <p:cmAuthor id="737" name="未知用户354" initials="未" lastIdx="1" clrIdx="0"/>
  <p:cmAuthor id="738" name="未知用户465" initials="未" lastIdx="1" clrIdx="78"/>
  <p:cmAuthor id="739" name="未知用户466" initials="未" lastIdx="1" clrIdx="0"/>
  <p:cmAuthor id="740" name="未知用户467" initials="未" lastIdx="3" clrIdx="1"/>
  <p:cmAuthor id="741" name="未知用户238" initials="未" lastIdx="10" clrIdx="0"/>
  <p:cmAuthor id="742" name="未知用户426" initials="未" lastIdx="1" clrIdx="0"/>
  <p:cmAuthor id="743" name="未知用户371" initials="未" lastIdx="1" clrIdx="1"/>
  <p:cmAuthor id="744" name="未知用户220" initials="未" lastIdx="1" clrIdx="0"/>
  <p:cmAuthor id="745" name="未知用户373" initials="未" lastIdx="8" clrIdx="0"/>
  <p:cmAuthor id="746" name="未知用户374" initials="未" lastIdx="2" clrIdx="0"/>
  <p:cmAuthor id="747" name="未知用户271" initials="未" lastIdx="1" clrIdx="0"/>
  <p:cmAuthor id="748" name="未知用户388" initials="未" lastIdx="1" clrIdx="0"/>
  <p:cmAuthor id="749" name="未知用户375" initials="未" lastIdx="8" clrIdx="0"/>
  <p:cmAuthor id="750" name="未知用户223" initials="未" lastIdx="1" clrIdx="0"/>
  <p:cmAuthor id="751" name="未知用户377" initials="未" lastIdx="1" clrIdx="0"/>
  <p:cmAuthor id="752" name="未知用户428" initials="未" lastIdx="8" clrIdx="0"/>
  <p:cmAuthor id="753" name="未知用户378" initials="未" lastIdx="1" clrIdx="0"/>
  <p:cmAuthor id="754" name="未知用户224" initials="未" lastIdx="5" clrIdx="0"/>
  <p:cmAuthor id="755" name="未知用户339" initials="未" lastIdx="1" clrIdx="0"/>
  <p:cmAuthor id="757" name="未知用户381" initials="未" lastIdx="1" clrIdx="0"/>
  <p:cmAuthor id="758" name="未知用户401" initials="未" lastIdx="1" clrIdx="0"/>
  <p:cmAuthor id="759" name="未知用户383" initials="未" lastIdx="1" clrIdx="0"/>
  <p:cmAuthor id="760" name="未知用户384" initials="未" lastIdx="1" clrIdx="0"/>
  <p:cmAuthor id="761" name="未知用户294" initials="未" lastIdx="8" clrIdx="0"/>
  <p:cmAuthor id="763" name="未知用户298" initials="未" lastIdx="1" clrIdx="0"/>
  <p:cmAuthor id="764" name="未知用户299" initials="未" lastIdx="1" clrIdx="0"/>
  <p:cmAuthor id="765" name="soling" initials="s" lastIdx="1" clrIdx="2"/>
  <p:cmAuthor id="766" name="未知用户430" initials="未" lastIdx="2" clrIdx="0"/>
  <p:cmAuthor id="767" name="未知用户389" initials="未" lastIdx="1" clrIdx="0"/>
  <p:cmAuthor id="768" name="未知用户350" initials="未" lastIdx="1" clrIdx="0"/>
  <p:cmAuthor id="769" name="未知用户431" initials="未" lastIdx="1" clrIdx="0"/>
  <p:cmAuthor id="770" name="未知用户351" initials="未" lastIdx="8" clrIdx="0"/>
  <p:cmAuthor id="771" name="未知用户432" initials="未" lastIdx="1" clrIdx="0"/>
  <p:cmAuthor id="772" name="未知用户275" initials="未" lastIdx="1" clrIdx="0"/>
  <p:cmAuthor id="773" name="未知用户433" initials="未" lastIdx="1" clrIdx="0"/>
  <p:cmAuthor id="774" name="未知用户434" initials="未" lastIdx="1" clrIdx="0"/>
  <p:cmAuthor id="775" name="未知用户393" initials="未" lastIdx="11" clrIdx="0"/>
  <p:cmAuthor id="776" name="未知用户435" initials="未" lastIdx="7" clrIdx="1"/>
  <p:cmAuthor id="778" name="未知用户239" initials="未" lastIdx="6" clrIdx="0"/>
  <p:cmAuthor id="779" name="未知用户396" initials="未" lastIdx="1" clrIdx="0"/>
  <p:cmAuthor id="780" name="未知用户437" initials="未" lastIdx="1" clrIdx="1"/>
  <p:cmAuthor id="781" name="未知用户397" initials="未" lastIdx="1" clrIdx="0"/>
  <p:cmAuthor id="782" name="未知用户399" initials="未" lastIdx="2" clrIdx="0"/>
  <p:cmAuthor id="783" name="未知用户446" initials="未" lastIdx="1" clrIdx="0"/>
  <p:cmAuthor id="784" name="未知用户390" initials="未" lastIdx="1" clrIdx="0"/>
  <p:cmAuthor id="785" name="未知用户392" initials="未" lastIdx="3" clrIdx="1"/>
  <p:cmAuthor id="786" name="未知用户402" initials="未" lastIdx="1" clrIdx="0"/>
  <p:cmAuthor id="787" name="未知用户403" initials="未" lastIdx="1" clrIdx="0"/>
  <p:cmAuthor id="788" name="未知用户327" initials="未" lastIdx="1" clrIdx="0"/>
  <p:cmAuthor id="789" name="未知用户404" initials="未" lastIdx="1" clrIdx="0"/>
  <p:cmAuthor id="790" name="未知用户276" initials="未" lastIdx="8" clrIdx="0"/>
  <p:cmAuthor id="791" name="黎辉鹏" initials="黎" lastIdx="1" clrIdx="0"/>
  <p:cmAuthor id="792" name="未知用户406" initials="未" lastIdx="0" clrIdx="0"/>
  <p:cmAuthor id="793" name="未知用户440" initials="未" lastIdx="1" clrIdx="0"/>
  <p:cmAuthor id="794" name="未知用户441" initials="未" lastIdx="1" clrIdx="0"/>
  <p:cmAuthor id="795" name="未知用户442" initials="未" lastIdx="1" clrIdx="0"/>
  <p:cmAuthor id="796" name="未知用户409" initials="未" lastIdx="2" clrIdx="2"/>
  <p:cmAuthor id="238" name="张成真" initials="张" lastIdx="1" clrIdx="0"/>
  <p:cmAuthor id="247" name="蔡江林" initials="蔡" lastIdx="2" clrIdx="27"/>
  <p:cmAuthor id="108" name="张田田" initials="张" lastIdx="23" clrIdx="2"/>
  <p:cmAuthor id="213" name="沈永强" initials="沈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333333"/>
    <a:srgbClr val="01307D"/>
    <a:srgbClr val="336699"/>
    <a:srgbClr val="CCFF99"/>
    <a:srgbClr val="FF9900"/>
    <a:srgbClr val="FF6600"/>
    <a:srgbClr val="BCFF79"/>
    <a:srgbClr val="99CCFF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22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840" y="48"/>
      </p:cViewPr>
      <p:guideLst>
        <p:guide orient="horz" pos="2301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commentAuthors" Target="commentAuthors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8693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r">
              <a:defRPr sz="1200"/>
            </a:lvl1pPr>
          </a:lstStyle>
          <a:p>
            <a:fld id="{432274C5-6EC4-4FA0-B7E5-01BED7D27F31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3" tIns="45712" rIns="91423" bIns="45712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23" tIns="45712" rIns="91423" bIns="45712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787" cy="498692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r">
              <a:defRPr sz="1200"/>
            </a:lvl1pPr>
          </a:lstStyle>
          <a:p>
            <a:fld id="{3ACD9FEE-60D2-4A8E-8D8E-6E095DCD644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68611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8F98C97-672B-45D3-8282-E8BD867AD540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948547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9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>
              <a:lnSpc>
                <a:spcPct val="150000"/>
              </a:lnSpc>
              <a:defRPr sz="2400"/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2000"/>
            </a:lvl2pPr>
            <a:lvl3pPr>
              <a:lnSpc>
                <a:spcPct val="150000"/>
              </a:lnSpc>
              <a:defRPr sz="1800"/>
            </a:lvl3pPr>
            <a:lvl4pPr marL="16002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57201" y="125789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idx="1"/>
          </p:nvPr>
        </p:nvSpPr>
        <p:spPr>
          <a:xfrm>
            <a:off x="457200" y="1059873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>
              <a:lnSpc>
                <a:spcPct val="150000"/>
              </a:lnSpc>
              <a:defRPr sz="2400"/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2000"/>
            </a:lvl2pPr>
            <a:lvl3pPr>
              <a:lnSpc>
                <a:spcPct val="150000"/>
              </a:lnSpc>
              <a:defRPr sz="1800"/>
            </a:lvl3pPr>
            <a:lvl4pPr marL="16002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448800" y="6569075"/>
            <a:ext cx="27432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pic>
        <p:nvPicPr>
          <p:cNvPr id="9" name="Picture 2" descr="D:\Brand\VI\Creative\logo update 0922\logo png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3" t="33849" r="14632" b="33659"/>
          <a:stretch>
            <a:fillRect/>
          </a:stretch>
        </p:blipFill>
        <p:spPr bwMode="auto">
          <a:xfrm>
            <a:off x="9291145" y="136886"/>
            <a:ext cx="2817008" cy="57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直接连接符 9"/>
          <p:cNvCxnSpPr/>
          <p:nvPr userDrawn="1"/>
        </p:nvCxnSpPr>
        <p:spPr>
          <a:xfrm>
            <a:off x="222963" y="633434"/>
            <a:ext cx="11748556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 userDrawn="1"/>
        </p:nvSpPr>
        <p:spPr>
          <a:xfrm>
            <a:off x="0" y="6423593"/>
            <a:ext cx="12191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世界领先技术体系   扎实厚道创新体验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222963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>
            <a:off x="8731519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24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12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1" Type="http://schemas.openxmlformats.org/officeDocument/2006/relationships/notesSlide" Target="../notesSlides/notesSlide1.xml"/><Relationship Id="rId60" Type="http://schemas.openxmlformats.org/officeDocument/2006/relationships/vmlDrawing" Target="../drawings/vmlDrawing1.vml"/><Relationship Id="rId6" Type="http://schemas.openxmlformats.org/officeDocument/2006/relationships/tags" Target="../tags/tag9.xml"/><Relationship Id="rId59" Type="http://schemas.openxmlformats.org/officeDocument/2006/relationships/slideLayout" Target="../slideLayouts/slideLayout2.xml"/><Relationship Id="rId58" Type="http://schemas.openxmlformats.org/officeDocument/2006/relationships/tags" Target="../tags/tag61.xml"/><Relationship Id="rId57" Type="http://schemas.openxmlformats.org/officeDocument/2006/relationships/tags" Target="../tags/tag60.xml"/><Relationship Id="rId56" Type="http://schemas.openxmlformats.org/officeDocument/2006/relationships/tags" Target="../tags/tag59.xml"/><Relationship Id="rId55" Type="http://schemas.openxmlformats.org/officeDocument/2006/relationships/tags" Target="../tags/tag58.xml"/><Relationship Id="rId54" Type="http://schemas.openxmlformats.org/officeDocument/2006/relationships/tags" Target="../tags/tag57.xml"/><Relationship Id="rId53" Type="http://schemas.openxmlformats.org/officeDocument/2006/relationships/tags" Target="../tags/tag56.xml"/><Relationship Id="rId52" Type="http://schemas.openxmlformats.org/officeDocument/2006/relationships/tags" Target="../tags/tag55.xml"/><Relationship Id="rId51" Type="http://schemas.openxmlformats.org/officeDocument/2006/relationships/tags" Target="../tags/tag54.xml"/><Relationship Id="rId50" Type="http://schemas.openxmlformats.org/officeDocument/2006/relationships/tags" Target="../tags/tag53.xml"/><Relationship Id="rId5" Type="http://schemas.openxmlformats.org/officeDocument/2006/relationships/tags" Target="../tags/tag8.xml"/><Relationship Id="rId49" Type="http://schemas.openxmlformats.org/officeDocument/2006/relationships/tags" Target="../tags/tag52.xml"/><Relationship Id="rId48" Type="http://schemas.openxmlformats.org/officeDocument/2006/relationships/tags" Target="../tags/tag51.xml"/><Relationship Id="rId47" Type="http://schemas.openxmlformats.org/officeDocument/2006/relationships/tags" Target="../tags/tag50.xml"/><Relationship Id="rId46" Type="http://schemas.openxmlformats.org/officeDocument/2006/relationships/tags" Target="../tags/tag49.xml"/><Relationship Id="rId45" Type="http://schemas.openxmlformats.org/officeDocument/2006/relationships/tags" Target="../tags/tag48.xml"/><Relationship Id="rId44" Type="http://schemas.openxmlformats.org/officeDocument/2006/relationships/tags" Target="../tags/tag47.xml"/><Relationship Id="rId43" Type="http://schemas.openxmlformats.org/officeDocument/2006/relationships/tags" Target="../tags/tag46.xml"/><Relationship Id="rId42" Type="http://schemas.openxmlformats.org/officeDocument/2006/relationships/tags" Target="../tags/tag45.xml"/><Relationship Id="rId41" Type="http://schemas.openxmlformats.org/officeDocument/2006/relationships/tags" Target="../tags/tag44.xml"/><Relationship Id="rId40" Type="http://schemas.openxmlformats.org/officeDocument/2006/relationships/tags" Target="../tags/tag43.xml"/><Relationship Id="rId4" Type="http://schemas.openxmlformats.org/officeDocument/2006/relationships/tags" Target="../tags/tag7.xml"/><Relationship Id="rId39" Type="http://schemas.openxmlformats.org/officeDocument/2006/relationships/tags" Target="../tags/tag42.xml"/><Relationship Id="rId38" Type="http://schemas.openxmlformats.org/officeDocument/2006/relationships/tags" Target="../tags/tag41.xml"/><Relationship Id="rId37" Type="http://schemas.openxmlformats.org/officeDocument/2006/relationships/tags" Target="../tags/tag40.xml"/><Relationship Id="rId36" Type="http://schemas.openxmlformats.org/officeDocument/2006/relationships/tags" Target="../tags/tag39.xml"/><Relationship Id="rId35" Type="http://schemas.openxmlformats.org/officeDocument/2006/relationships/tags" Target="../tags/tag38.xml"/><Relationship Id="rId34" Type="http://schemas.openxmlformats.org/officeDocument/2006/relationships/tags" Target="../tags/tag37.xml"/><Relationship Id="rId33" Type="http://schemas.openxmlformats.org/officeDocument/2006/relationships/tags" Target="../tags/tag36.xml"/><Relationship Id="rId32" Type="http://schemas.openxmlformats.org/officeDocument/2006/relationships/tags" Target="../tags/tag35.xml"/><Relationship Id="rId31" Type="http://schemas.openxmlformats.org/officeDocument/2006/relationships/tags" Target="../tags/tag34.xml"/><Relationship Id="rId30" Type="http://schemas.openxmlformats.org/officeDocument/2006/relationships/tags" Target="../tags/tag33.xml"/><Relationship Id="rId3" Type="http://schemas.openxmlformats.org/officeDocument/2006/relationships/tags" Target="../tags/tag6.xml"/><Relationship Id="rId29" Type="http://schemas.openxmlformats.org/officeDocument/2006/relationships/tags" Target="../tags/tag32.xml"/><Relationship Id="rId28" Type="http://schemas.openxmlformats.org/officeDocument/2006/relationships/tags" Target="../tags/tag31.xml"/><Relationship Id="rId27" Type="http://schemas.openxmlformats.org/officeDocument/2006/relationships/tags" Target="../tags/tag30.xml"/><Relationship Id="rId26" Type="http://schemas.openxmlformats.org/officeDocument/2006/relationships/tags" Target="../tags/tag29.xml"/><Relationship Id="rId25" Type="http://schemas.openxmlformats.org/officeDocument/2006/relationships/tags" Target="../tags/tag28.xml"/><Relationship Id="rId24" Type="http://schemas.openxmlformats.org/officeDocument/2006/relationships/tags" Target="../tags/tag27.xml"/><Relationship Id="rId23" Type="http://schemas.openxmlformats.org/officeDocument/2006/relationships/tags" Target="../tags/tag26.xml"/><Relationship Id="rId22" Type="http://schemas.openxmlformats.org/officeDocument/2006/relationships/tags" Target="../tags/tag25.xml"/><Relationship Id="rId21" Type="http://schemas.openxmlformats.org/officeDocument/2006/relationships/tags" Target="../tags/tag24.xml"/><Relationship Id="rId20" Type="http://schemas.openxmlformats.org/officeDocument/2006/relationships/tags" Target="../tags/tag23.xml"/><Relationship Id="rId2" Type="http://schemas.openxmlformats.org/officeDocument/2006/relationships/oleObject" Target="../embeddings/oleObject1.bin"/><Relationship Id="rId19" Type="http://schemas.openxmlformats.org/officeDocument/2006/relationships/tags" Target="../tags/tag22.xml"/><Relationship Id="rId18" Type="http://schemas.openxmlformats.org/officeDocument/2006/relationships/tags" Target="../tags/tag21.xml"/><Relationship Id="rId17" Type="http://schemas.openxmlformats.org/officeDocument/2006/relationships/tags" Target="../tags/tag20.xml"/><Relationship Id="rId16" Type="http://schemas.openxmlformats.org/officeDocument/2006/relationships/tags" Target="../tags/tag19.xml"/><Relationship Id="rId15" Type="http://schemas.openxmlformats.org/officeDocument/2006/relationships/tags" Target="../tags/tag18.xml"/><Relationship Id="rId14" Type="http://schemas.openxmlformats.org/officeDocument/2006/relationships/tags" Target="../tags/tag17.xml"/><Relationship Id="rId13" Type="http://schemas.openxmlformats.org/officeDocument/2006/relationships/tags" Target="../tags/tag16.xml"/><Relationship Id="rId12" Type="http://schemas.openxmlformats.org/officeDocument/2006/relationships/tags" Target="../tags/tag15.xml"/><Relationship Id="rId11" Type="http://schemas.openxmlformats.org/officeDocument/2006/relationships/tags" Target="../tags/tag14.xml"/><Relationship Id="rId10" Type="http://schemas.openxmlformats.org/officeDocument/2006/relationships/tags" Target="../tags/tag13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2334895" y="1836420"/>
            <a:ext cx="7521575" cy="1200785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91429" tIns="45715" rIns="91429" bIns="45715">
            <a:noAutofit/>
          </a:bodyPr>
          <a:lstStyle/>
          <a:p>
            <a:pPr algn="ctr" fontAlgn="ctr"/>
            <a:r>
              <a:rPr kumimoji="1" lang="en-US" altLang="zh-CN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xxxx</a:t>
            </a:r>
            <a:r>
              <a:rPr kumimoji="1" lang="zh-CN" altLang="en-US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星火需求</a:t>
            </a:r>
            <a:endParaRPr kumimoji="1" lang="zh-CN" altLang="en-US" sz="3600" b="1" spc="3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 fontAlgn="ctr"/>
            <a:r>
              <a:rPr kumimoji="1" lang="zh-CN" altLang="en-US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技术方案</a:t>
            </a:r>
            <a:endParaRPr kumimoji="1" lang="zh-CN" altLang="en-US" sz="3600" b="1" spc="3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0" y="55092"/>
            <a:ext cx="3935896" cy="42354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1200" dirty="0" smtClean="0">
                <a:latin typeface="+mn-ea"/>
              </a:rPr>
              <a:t>C0301-W-04-001</a:t>
            </a:r>
            <a:endParaRPr lang="en-US" altLang="zh-CN" sz="1200" dirty="0" smtClean="0">
              <a:latin typeface="+mn-ea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j-cs"/>
              </a:rPr>
              <a:t>密级：核心商密</a:t>
            </a:r>
            <a:r>
              <a:rPr lang="zh-CN" altLang="en-US" sz="1200" b="1" dirty="0">
                <a:latin typeface="+mn-ea"/>
                <a:sym typeface="+mn-ea"/>
              </a:rPr>
              <a:t>■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j-cs"/>
              </a:rPr>
              <a:t> 普通</a:t>
            </a:r>
            <a:r>
              <a:rPr lang="zh-CN" altLang="en-US" sz="1200" b="1" dirty="0" smtClean="0">
                <a:latin typeface="+mn-ea"/>
              </a:rPr>
              <a:t>商密</a:t>
            </a:r>
            <a:r>
              <a:rPr lang="zh-CN" altLang="en-US" sz="1200" b="1" dirty="0">
                <a:latin typeface="+mn-ea"/>
              </a:rPr>
              <a:t>□</a:t>
            </a:r>
            <a:r>
              <a:rPr lang="zh-CN" altLang="en-US" sz="1200" b="1" dirty="0" smtClean="0">
                <a:latin typeface="+mn-ea"/>
              </a:rPr>
              <a:t> 内部资</a:t>
            </a:r>
            <a:r>
              <a:rPr lang="zh-CN" altLang="en-US" sz="1200" b="1" dirty="0">
                <a:latin typeface="+mn-ea"/>
              </a:rPr>
              <a:t>料</a:t>
            </a:r>
            <a:r>
              <a:rPr lang="zh-CN" altLang="en-US" sz="1200" b="1" dirty="0">
                <a:latin typeface="+mn-ea"/>
                <a:sym typeface="+mn-ea"/>
              </a:rPr>
              <a:t>□</a:t>
            </a:r>
            <a:r>
              <a:rPr lang="zh-CN" altLang="en-US" sz="1200" b="1" dirty="0">
                <a:latin typeface="+mn-ea"/>
              </a:rPr>
              <a:t> </a:t>
            </a:r>
            <a:r>
              <a:rPr lang="zh-CN" altLang="en-US" sz="1200" b="1" dirty="0" smtClean="0">
                <a:latin typeface="+mn-ea"/>
              </a:rPr>
              <a:t>对外公开□</a:t>
            </a:r>
            <a:endParaRPr lang="zh-CN" altLang="en-US" sz="1200" b="1" dirty="0">
              <a:latin typeface="+mn-ea"/>
            </a:endParaRPr>
          </a:p>
        </p:txBody>
      </p:sp>
      <p:sp>
        <p:nvSpPr>
          <p:cNvPr id="18" name="TextBox 12"/>
          <p:cNvSpPr txBox="1"/>
          <p:nvPr/>
        </p:nvSpPr>
        <p:spPr>
          <a:xfrm>
            <a:off x="4788956" y="257152"/>
            <a:ext cx="228601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概算内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budget</a:t>
            </a:r>
            <a:endParaRPr lang="zh-CN" altLang="en-US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9" name="TextBox 14"/>
          <p:cNvSpPr txBox="1"/>
          <p:nvPr/>
        </p:nvSpPr>
        <p:spPr>
          <a:xfrm>
            <a:off x="7345825" y="257152"/>
            <a:ext cx="257176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概算外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f  budget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 bwMode="auto">
          <a:xfrm>
            <a:off x="4448239" y="350558"/>
            <a:ext cx="340720" cy="193933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tx1">
                <a:gamma/>
                <a:shade val="60000"/>
                <a:invGamma/>
                <a:alpha val="50000"/>
              </a:schemeClr>
            </a:outerShdw>
          </a:effectLst>
        </p:spPr>
        <p:txBody>
          <a:bodyPr vert="horz" wrap="square" lIns="82177" tIns="41089" rIns="82177" bIns="41089" numCol="1" rtlCol="0" anchor="t" anchorCtr="0" compatLnSpc="1"/>
          <a:lstStyle/>
          <a:p>
            <a:pPr defTabSz="82169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6992534" y="350558"/>
            <a:ext cx="340720" cy="1939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tx1">
                <a:gamma/>
                <a:shade val="60000"/>
                <a:invGamma/>
                <a:alpha val="50000"/>
              </a:schemeClr>
            </a:outerShdw>
          </a:effectLst>
        </p:spPr>
        <p:txBody>
          <a:bodyPr vert="horz" wrap="square" lIns="82177" tIns="41089" rIns="82177" bIns="41089" numCol="1" rtlCol="0" anchor="t" anchorCtr="0" compatLnSpc="1"/>
          <a:lstStyle/>
          <a:p>
            <a:pPr defTabSz="821690"/>
            <a:endParaRPr lang="zh-CN" altLang="en-US">
              <a:latin typeface="Arial" panose="020B0604020202020204" pitchFamily="34" charset="0"/>
            </a:endParaRPr>
          </a:p>
        </p:txBody>
      </p:sp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2595880" y="3509645"/>
          <a:ext cx="7321550" cy="1204595"/>
        </p:xfrm>
        <a:graphic>
          <a:graphicData uri="http://schemas.openxmlformats.org/drawingml/2006/table">
            <a:tbl>
              <a:tblPr/>
              <a:tblGrid>
                <a:gridCol w="719455"/>
                <a:gridCol w="2930525"/>
                <a:gridCol w="3671570"/>
              </a:tblGrid>
              <a:tr h="395605">
                <a:tc>
                  <a:txBody>
                    <a:bodyPr/>
                    <a:p>
                      <a:pPr algn="l" fontAlgn="ctr"/>
                      <a:endParaRPr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600" b="1" i="0">
                          <a:solidFill>
                            <a:schemeClr val="bg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需求方</a:t>
                      </a:r>
                      <a:endParaRPr lang="zh-CN" altLang="en-US"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600" b="1" i="0">
                          <a:solidFill>
                            <a:schemeClr val="bg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揭榜方</a:t>
                      </a:r>
                      <a:endParaRPr lang="zh-CN" altLang="en-US"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</a:tr>
              <a:tr h="374015">
                <a:tc>
                  <a:txBody>
                    <a:bodyPr/>
                    <a:p>
                      <a:pPr algn="l" fontAlgn="ctr"/>
                      <a:r>
                        <a:rPr lang="zh-CN" altLang="en-US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单位</a:t>
                      </a:r>
                      <a:endParaRPr lang="zh-CN" altLang="en-US"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34975">
                <a:tc>
                  <a:txBody>
                    <a:bodyPr/>
                    <a:p>
                      <a:pPr algn="l" fontAlgn="ctr"/>
                      <a:r>
                        <a:rPr lang="zh-CN" altLang="en-US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负责人</a:t>
                      </a:r>
                      <a:endParaRPr lang="zh-CN" altLang="en-US"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4965700" y="1579245"/>
            <a:ext cx="3213100" cy="34150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团队介绍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指南指标达成情况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竞争分析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技术方案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Tx/>
              <a:buAutoNum type="ea1ChsPeriod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项目计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划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项目投资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揭榜团队介绍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graphicFrame>
        <p:nvGraphicFramePr>
          <p:cNvPr id="6" name="表格 5"/>
          <p:cNvGraphicFramePr/>
          <p:nvPr>
            <p:custDataLst>
              <p:tags r:id="rId1"/>
            </p:custDataLst>
          </p:nvPr>
        </p:nvGraphicFramePr>
        <p:xfrm>
          <a:off x="323850" y="900430"/>
          <a:ext cx="11624945" cy="5461000"/>
        </p:xfrm>
        <a:graphic>
          <a:graphicData uri="http://schemas.openxmlformats.org/drawingml/2006/table">
            <a:tbl>
              <a:tblPr/>
              <a:tblGrid>
                <a:gridCol w="1425575"/>
                <a:gridCol w="5011420"/>
                <a:gridCol w="5187950"/>
              </a:tblGrid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申报单位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8"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6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高校团队成果介绍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：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 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相关领域研究经验（简述，可另附页）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代表性成果（近</a:t>
                      </a: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）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所在院系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团队名称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团队负责人及成员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职务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职称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电话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子邮箱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讯地址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 rot="21120000">
            <a:off x="6561455" y="4039235"/>
            <a:ext cx="5097780" cy="543560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指南指标达成情况</a:t>
            </a:r>
            <a:endParaRPr lang="zh-CN" altLang="en-US"/>
          </a:p>
        </p:txBody>
      </p:sp>
      <p:graphicFrame>
        <p:nvGraphicFramePr>
          <p:cNvPr id="7" name="表格 6"/>
          <p:cNvGraphicFramePr/>
          <p:nvPr>
            <p:custDataLst>
              <p:tags r:id="rId1"/>
            </p:custDataLst>
          </p:nvPr>
        </p:nvGraphicFramePr>
        <p:xfrm>
          <a:off x="708660" y="1082040"/>
          <a:ext cx="10737215" cy="4897755"/>
        </p:xfrm>
        <a:graphic>
          <a:graphicData uri="http://schemas.openxmlformats.org/drawingml/2006/table">
            <a:tbl>
              <a:tblPr/>
              <a:tblGrid>
                <a:gridCol w="939800"/>
                <a:gridCol w="4324350"/>
                <a:gridCol w="4570095"/>
                <a:gridCol w="902970"/>
              </a:tblGrid>
              <a:tr h="418465">
                <a:tc>
                  <a:txBody>
                    <a:bodyPr/>
                    <a:p>
                      <a:pPr algn="ctr" fontAlgn="ctr"/>
                      <a:r>
                        <a:rPr lang="zh-CN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维度</a:t>
                      </a:r>
                      <a:endParaRPr lang="zh-CN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需求（考核指标）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计达成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满足情况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</a:tr>
              <a:tr h="304800">
                <a:tc rowSpan="5">
                  <a:txBody>
                    <a:bodyPr/>
                    <a:p>
                      <a:pPr algn="l" fontAlgn="ctr"/>
                      <a:r>
                        <a:rPr lang="zh-CN" altLang="en-US" sz="1400" b="1" i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参数</a:t>
                      </a:r>
                      <a:endParaRPr lang="zh-CN" altLang="en-US" sz="1400" b="1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sz="1100" b="0" i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成</a:t>
                      </a:r>
                      <a:endParaRPr lang="zh-CN" sz="1100" b="0" i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sz="1100" b="0" i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于</a:t>
                      </a:r>
                      <a:endParaRPr lang="zh-CN" sz="1100" b="0" i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0830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rowSpan="6">
                  <a:txBody>
                    <a:bodyPr/>
                    <a:p>
                      <a:pPr algn="l" fontAlgn="ctr"/>
                      <a:r>
                        <a:rPr lang="zh-CN" altLang="en-US" sz="1400" b="1" i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核心交付</a:t>
                      </a:r>
                      <a:endParaRPr lang="zh-CN" altLang="en-US" sz="1400" b="1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172026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竞争分</a:t>
            </a:r>
            <a:r>
              <a:rPr lang="zh-CN" altLang="en-US">
                <a:sym typeface="+mn-ea"/>
              </a:rPr>
              <a:t>析</a:t>
            </a:r>
            <a:endParaRPr lang="zh-CN" altLang="en-US">
              <a:sym typeface="+mn-ea"/>
            </a:endParaRPr>
          </a:p>
        </p:txBody>
      </p:sp>
      <p:sp>
        <p:nvSpPr>
          <p:cNvPr id="5" name="标题 1"/>
          <p:cNvSpPr txBox="1"/>
          <p:nvPr/>
        </p:nvSpPr>
        <p:spPr>
          <a:xfrm>
            <a:off x="2669296" y="646712"/>
            <a:ext cx="6779553" cy="2281614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满足什么用户需求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解决什么痛点问题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奇瑞现状、竞品现状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本项目完成后奇瑞可达成的状态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415415" y="3061335"/>
          <a:ext cx="8321675" cy="2133600"/>
        </p:xfrm>
        <a:graphic>
          <a:graphicData uri="http://schemas.openxmlformats.org/drawingml/2006/table">
            <a:tbl>
              <a:tblPr/>
              <a:tblGrid>
                <a:gridCol w="524510"/>
                <a:gridCol w="1989455"/>
                <a:gridCol w="1660525"/>
                <a:gridCol w="1704340"/>
                <a:gridCol w="1697355"/>
                <a:gridCol w="745490"/>
              </a:tblGrid>
              <a:tr h="27432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或技术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国外产品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国内产品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本项目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情况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功率密度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2.5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agnax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0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小象电动科技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15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峰值效率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6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YASA/NE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时代新能源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6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仪坤动力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公司宣传材料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97.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高效区（效率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≥90%</a:t>
                      </a: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）覆盖工况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agnax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0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小象电动科技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8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 rot="21120000">
            <a:off x="6561455" y="4039235"/>
            <a:ext cx="5097780" cy="543560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172026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技术方案（</a:t>
            </a:r>
            <a:r>
              <a:rPr lang="en-US" altLang="zh-CN">
                <a:sym typeface="+mn-ea"/>
              </a:rPr>
              <a:t>1-3</a:t>
            </a:r>
            <a:r>
              <a:rPr lang="zh-CN" altLang="en-US">
                <a:sym typeface="+mn-ea"/>
              </a:rPr>
              <a:t>页）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对象 63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AutoShap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05" name="直接连接符 389"/>
          <p:cNvCxnSpPr/>
          <p:nvPr>
            <p:custDataLst>
              <p:tags r:id="rId3"/>
            </p:custDataLst>
          </p:nvPr>
        </p:nvCxnSpPr>
        <p:spPr>
          <a:xfrm>
            <a:off x="-7057" y="2017861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8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9" name="直接连接符 388"/>
          <p:cNvCxnSpPr/>
          <p:nvPr>
            <p:custDataLst>
              <p:tags r:id="rId4"/>
            </p:custDataLst>
          </p:nvPr>
        </p:nvCxnSpPr>
        <p:spPr>
          <a:xfrm>
            <a:off x="14818" y="1285296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8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9" name="直接连接符 483"/>
          <p:cNvCxnSpPr/>
          <p:nvPr>
            <p:custDataLst>
              <p:tags r:id="rId5"/>
            </p:custDataLst>
          </p:nvPr>
        </p:nvCxnSpPr>
        <p:spPr>
          <a:xfrm>
            <a:off x="0" y="2483626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8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直接连接符 222"/>
          <p:cNvCxnSpPr/>
          <p:nvPr>
            <p:custDataLst>
              <p:tags r:id="rId6"/>
            </p:custDataLst>
          </p:nvPr>
        </p:nvCxnSpPr>
        <p:spPr>
          <a:xfrm flipH="1">
            <a:off x="2378105" y="732820"/>
            <a:ext cx="11290" cy="5843240"/>
          </a:xfrm>
          <a:prstGeom prst="line">
            <a:avLst/>
          </a:prstGeom>
          <a:ln w="3175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直接连接符 222"/>
          <p:cNvCxnSpPr/>
          <p:nvPr>
            <p:custDataLst>
              <p:tags r:id="rId7"/>
            </p:custDataLst>
          </p:nvPr>
        </p:nvCxnSpPr>
        <p:spPr>
          <a:xfrm>
            <a:off x="12119684" y="1035720"/>
            <a:ext cx="0" cy="5472000"/>
          </a:xfrm>
          <a:prstGeom prst="line">
            <a:avLst/>
          </a:prstGeom>
          <a:ln w="3175" cap="flat">
            <a:solidFill>
              <a:schemeClr val="bg1">
                <a:lumMod val="9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直接连接符 483"/>
          <p:cNvCxnSpPr/>
          <p:nvPr>
            <p:custDataLst>
              <p:tags r:id="rId8"/>
            </p:custDataLst>
          </p:nvPr>
        </p:nvCxnSpPr>
        <p:spPr>
          <a:xfrm>
            <a:off x="-7057" y="3729137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8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AutoShape 8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701736" y="712537"/>
            <a:ext cx="1461740" cy="220118"/>
          </a:xfrm>
          <a:prstGeom prst="homePlate">
            <a:avLst>
              <a:gd name="adj" fmla="val 11878"/>
            </a:avLst>
          </a:prstGeom>
          <a:solidFill>
            <a:srgbClr val="0070C0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题验收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1" name="TextBox 32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716583" y="1421356"/>
            <a:ext cx="1007808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中期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6.6.30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62" name="AutoShape 2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flipV="1">
            <a:off x="7086119" y="1303637"/>
            <a:ext cx="234950" cy="101600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6350">
            <a:solidFill>
              <a:schemeClr val="accent1"/>
            </a:solidFill>
            <a:miter lim="800000"/>
          </a:ln>
          <a:effectLst/>
        </p:spPr>
        <p:txBody>
          <a:bodyPr wrap="none" lIns="71120" tIns="71120" rIns="71120" bIns="71120" anchor="ctr"/>
          <a:lstStyle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7" name="TextBox 32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172987" y="1361206"/>
            <a:ext cx="982203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结题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7.2.28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70" name="AutoShape 2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flipV="1">
            <a:off x="11835831" y="1286926"/>
            <a:ext cx="234950" cy="101600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6350">
            <a:solidFill>
              <a:schemeClr val="accent1"/>
            </a:solidFill>
            <a:miter lim="800000"/>
          </a:ln>
          <a:effectLst/>
        </p:spPr>
        <p:txBody>
          <a:bodyPr wrap="none" lIns="71120" tIns="71120" rIns="71120" bIns="71120" anchor="ctr"/>
          <a:lstStyle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8" name="AutoShape 8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4710" y="732790"/>
            <a:ext cx="1551305" cy="195580"/>
          </a:xfrm>
          <a:prstGeom prst="homePlate">
            <a:avLst>
              <a:gd name="adj" fmla="val 11885"/>
            </a:avLst>
          </a:prstGeom>
          <a:solidFill>
            <a:srgbClr val="0070C0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立项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2" name="AutoShape 8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225376" y="715400"/>
            <a:ext cx="3476359" cy="220469"/>
          </a:xfrm>
          <a:prstGeom prst="homePlate">
            <a:avLst>
              <a:gd name="adj" fmla="val 11955"/>
            </a:avLst>
          </a:prstGeom>
          <a:solidFill>
            <a:srgbClr val="0070C0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marL="2540" indent="-2540"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验证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3" name="AutoShape 8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062109" y="723939"/>
            <a:ext cx="3151978" cy="221815"/>
          </a:xfrm>
          <a:prstGeom prst="homePlate">
            <a:avLst>
              <a:gd name="adj" fmla="val 11886"/>
            </a:avLst>
          </a:prstGeom>
          <a:solidFill>
            <a:srgbClr val="0070C0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marL="2540" indent="-2540"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开发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0" name="AutoShape 8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390417" y="732857"/>
            <a:ext cx="1667620" cy="195941"/>
          </a:xfrm>
          <a:prstGeom prst="homePlate">
            <a:avLst>
              <a:gd name="adj" fmla="val 11885"/>
            </a:avLst>
          </a:prstGeom>
          <a:solidFill>
            <a:srgbClr val="0070C0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概念设计</a:t>
            </a:r>
            <a:endParaRPr lang="zh-CN" altLang="en-US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1" name="Pentagon 123"/>
          <p:cNvSpPr/>
          <p:nvPr>
            <p:custDataLst>
              <p:tags r:id="rId18"/>
            </p:custDataLst>
          </p:nvPr>
        </p:nvSpPr>
        <p:spPr>
          <a:xfrm>
            <a:off x="4115435" y="2480945"/>
            <a:ext cx="2224405" cy="25463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SN,DDS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应用场景及标准规范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25" name="Pentagon 123"/>
          <p:cNvSpPr/>
          <p:nvPr>
            <p:custDataLst>
              <p:tags r:id="rId19"/>
            </p:custDataLst>
          </p:nvPr>
        </p:nvSpPr>
        <p:spPr>
          <a:xfrm>
            <a:off x="5024755" y="2782570"/>
            <a:ext cx="1727835" cy="27432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SN,DDS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设计及规范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39" name="Pentagon 123"/>
          <p:cNvSpPr/>
          <p:nvPr>
            <p:custDataLst>
              <p:tags r:id="rId20"/>
            </p:custDataLst>
          </p:nvPr>
        </p:nvSpPr>
        <p:spPr>
          <a:xfrm>
            <a:off x="6202680" y="3094355"/>
            <a:ext cx="2080260" cy="2724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原型样件软硬件开发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5" name="Pentagon 123"/>
          <p:cNvSpPr/>
          <p:nvPr>
            <p:custDataLst>
              <p:tags r:id="rId21"/>
            </p:custDataLst>
          </p:nvPr>
        </p:nvSpPr>
        <p:spPr>
          <a:xfrm>
            <a:off x="6177280" y="4453255"/>
            <a:ext cx="4408805" cy="2343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以太网单节点及系统测试规范制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6" name="Pentagon 123"/>
          <p:cNvSpPr/>
          <p:nvPr>
            <p:custDataLst>
              <p:tags r:id="rId22"/>
            </p:custDataLst>
          </p:nvPr>
        </p:nvSpPr>
        <p:spPr>
          <a:xfrm>
            <a:off x="7177405" y="4159250"/>
            <a:ext cx="1567815" cy="23495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件测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9" name="Pentagon 123"/>
          <p:cNvSpPr/>
          <p:nvPr>
            <p:custDataLst>
              <p:tags r:id="rId23"/>
            </p:custDataLst>
          </p:nvPr>
        </p:nvSpPr>
        <p:spPr>
          <a:xfrm>
            <a:off x="8794750" y="4159250"/>
            <a:ext cx="1186815" cy="29400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测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1459688" y="423691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b="1" dirty="0" smtClean="0">
                <a:solidFill>
                  <a:srgbClr val="450ED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前阶段</a:t>
            </a:r>
            <a:endParaRPr lang="zh-CN" altLang="en-US" sz="1400" b="1" dirty="0" smtClean="0">
              <a:solidFill>
                <a:srgbClr val="450ED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Pentagon 123"/>
          <p:cNvSpPr/>
          <p:nvPr>
            <p:custDataLst>
              <p:tags r:id="rId24"/>
            </p:custDataLst>
          </p:nvPr>
        </p:nvSpPr>
        <p:spPr>
          <a:xfrm>
            <a:off x="10701655" y="4454525"/>
            <a:ext cx="1409065" cy="24003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试验收报告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7" name="Pentagon 123"/>
          <p:cNvSpPr/>
          <p:nvPr>
            <p:custDataLst>
              <p:tags r:id="rId25"/>
            </p:custDataLst>
          </p:nvPr>
        </p:nvSpPr>
        <p:spPr>
          <a:xfrm>
            <a:off x="10007532" y="3867734"/>
            <a:ext cx="1014163" cy="5261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件交付</a:t>
            </a:r>
            <a:endParaRPr lang="en-US" alt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交付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3" name="Pentagon 123"/>
          <p:cNvSpPr/>
          <p:nvPr>
            <p:custDataLst>
              <p:tags r:id="rId26"/>
            </p:custDataLst>
          </p:nvPr>
        </p:nvSpPr>
        <p:spPr>
          <a:xfrm>
            <a:off x="1951990" y="2075180"/>
            <a:ext cx="1024890" cy="32004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技术方案讨论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8" name="Pentagon 123"/>
          <p:cNvSpPr/>
          <p:nvPr>
            <p:custDataLst>
              <p:tags r:id="rId27"/>
            </p:custDataLst>
          </p:nvPr>
        </p:nvSpPr>
        <p:spPr>
          <a:xfrm>
            <a:off x="6178134" y="4173051"/>
            <a:ext cx="1003436" cy="20305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试计划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2378075" y="967105"/>
            <a:ext cx="1679575" cy="208915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2.28~2026.3.30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4091697" y="980122"/>
            <a:ext cx="3112030" cy="19561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3.30~2026.6.30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7238921" y="978446"/>
            <a:ext cx="3462814" cy="19503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6.30~2026.10.30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10723880" y="964565"/>
            <a:ext cx="1468755" cy="211455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10.30~2027.2.28</a:t>
            </a:r>
            <a:endParaRPr lang="en-US" altLang="zh-CN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Pentagon 123"/>
          <p:cNvSpPr/>
          <p:nvPr>
            <p:custDataLst>
              <p:tags r:id="rId28"/>
            </p:custDataLst>
          </p:nvPr>
        </p:nvSpPr>
        <p:spPr>
          <a:xfrm>
            <a:off x="6765290" y="3404870"/>
            <a:ext cx="1867535" cy="2393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开发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6" name="Text Box 78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21285" y="1455420"/>
            <a:ext cx="720000" cy="419100"/>
          </a:xfrm>
          <a:prstGeom prst="rect">
            <a:avLst/>
          </a:prstGeom>
          <a:solidFill>
            <a:srgbClr val="0070C0"/>
          </a:solidFill>
          <a:ln w="6350">
            <a:solidFill>
              <a:schemeClr val="accent1"/>
            </a:solidFill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/>
              </a:rPr>
              <a:t>项目立项</a:t>
            </a:r>
            <a:endParaRPr lang="zh-CN" altLang="en-US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69" name="Text Box 78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21285" y="2049780"/>
            <a:ext cx="720000" cy="419100"/>
          </a:xfrm>
          <a:prstGeom prst="rect">
            <a:avLst/>
          </a:prstGeom>
          <a:solidFill>
            <a:srgbClr val="0070C0"/>
          </a:solidFill>
          <a:ln w="6350">
            <a:solidFill>
              <a:schemeClr val="accent1"/>
            </a:solidFill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/>
              </a:rPr>
              <a:t>方案设计</a:t>
            </a:r>
            <a:endParaRPr lang="zh-CN" altLang="en-US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72" name="Text Box 78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121285" y="3030220"/>
            <a:ext cx="720000" cy="424180"/>
          </a:xfrm>
          <a:prstGeom prst="rect">
            <a:avLst/>
          </a:prstGeom>
          <a:solidFill>
            <a:srgbClr val="0070C0"/>
          </a:solidFill>
          <a:ln w="6350">
            <a:solidFill>
              <a:schemeClr val="accent1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项目开发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85" name="Text Box 78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21285" y="4157980"/>
            <a:ext cx="720000" cy="308610"/>
          </a:xfrm>
          <a:prstGeom prst="rect">
            <a:avLst/>
          </a:prstGeom>
          <a:solidFill>
            <a:srgbClr val="0070C0"/>
          </a:solidFill>
          <a:ln w="6350">
            <a:solidFill>
              <a:schemeClr val="accent1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测试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2" name="Text Box 78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21285" y="5556885"/>
            <a:ext cx="720000" cy="378460"/>
          </a:xfrm>
          <a:prstGeom prst="rect">
            <a:avLst/>
          </a:prstGeom>
          <a:solidFill>
            <a:srgbClr val="0070C0"/>
          </a:solidFill>
          <a:ln w="6350">
            <a:solidFill>
              <a:schemeClr val="accent1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财务控制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3" name="Text Box 78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121285" y="4937125"/>
            <a:ext cx="720000" cy="391795"/>
          </a:xfrm>
          <a:prstGeom prst="rect">
            <a:avLst/>
          </a:prstGeom>
          <a:solidFill>
            <a:srgbClr val="0070C0"/>
          </a:solidFill>
          <a:ln w="6350">
            <a:solidFill>
              <a:schemeClr val="accent1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工具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4" name="Text Box 78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21285" y="6113780"/>
            <a:ext cx="720000" cy="413385"/>
          </a:xfrm>
          <a:prstGeom prst="rect">
            <a:avLst/>
          </a:prstGeom>
          <a:solidFill>
            <a:srgbClr val="0070C0"/>
          </a:solidFill>
          <a:ln w="6350">
            <a:solidFill>
              <a:schemeClr val="accent1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供应商</a:t>
            </a:r>
            <a:endParaRPr lang="en-US" altLang="zh-CN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管理</a:t>
            </a:r>
            <a:endParaRPr lang="zh-CN" altLang="en-US" sz="1200" b="1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6" name="Pentagon 123"/>
          <p:cNvSpPr/>
          <p:nvPr>
            <p:custDataLst>
              <p:tags r:id="rId36"/>
            </p:custDataLst>
          </p:nvPr>
        </p:nvSpPr>
        <p:spPr>
          <a:xfrm>
            <a:off x="2999105" y="2073275"/>
            <a:ext cx="1094740" cy="32194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方案讨论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7" name="Pentagon 123"/>
          <p:cNvSpPr/>
          <p:nvPr>
            <p:custDataLst>
              <p:tags r:id="rId37"/>
            </p:custDataLst>
          </p:nvPr>
        </p:nvSpPr>
        <p:spPr>
          <a:xfrm>
            <a:off x="1459865" y="1752600"/>
            <a:ext cx="1610360" cy="2343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方案调研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4" name="Pentagon 123"/>
          <p:cNvSpPr/>
          <p:nvPr>
            <p:custDataLst>
              <p:tags r:id="rId38"/>
            </p:custDataLst>
          </p:nvPr>
        </p:nvSpPr>
        <p:spPr>
          <a:xfrm>
            <a:off x="7794625" y="3800475"/>
            <a:ext cx="2107565" cy="2597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安装及功能调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5" name="直接连接符 483"/>
          <p:cNvCxnSpPr/>
          <p:nvPr>
            <p:custDataLst>
              <p:tags r:id="rId39"/>
            </p:custDataLst>
          </p:nvPr>
        </p:nvCxnSpPr>
        <p:spPr>
          <a:xfrm>
            <a:off x="1538" y="4789937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8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Pentagon 123"/>
          <p:cNvSpPr/>
          <p:nvPr>
            <p:custDataLst>
              <p:tags r:id="rId40"/>
            </p:custDataLst>
          </p:nvPr>
        </p:nvSpPr>
        <p:spPr>
          <a:xfrm>
            <a:off x="5774690" y="4956810"/>
            <a:ext cx="1880235" cy="3022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工具到货、安装、培训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8" name="直接连接符 483"/>
          <p:cNvCxnSpPr/>
          <p:nvPr>
            <p:custDataLst>
              <p:tags r:id="rId41"/>
            </p:custDataLst>
          </p:nvPr>
        </p:nvCxnSpPr>
        <p:spPr>
          <a:xfrm>
            <a:off x="42049" y="5424974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8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entagon 123"/>
          <p:cNvSpPr/>
          <p:nvPr>
            <p:custDataLst>
              <p:tags r:id="rId42"/>
            </p:custDataLst>
          </p:nvPr>
        </p:nvSpPr>
        <p:spPr>
          <a:xfrm>
            <a:off x="1694815" y="5622290"/>
            <a:ext cx="2136775" cy="29464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预算确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0" name="Pentagon 123"/>
          <p:cNvSpPr/>
          <p:nvPr>
            <p:custDataLst>
              <p:tags r:id="rId43"/>
            </p:custDataLst>
          </p:nvPr>
        </p:nvSpPr>
        <p:spPr>
          <a:xfrm>
            <a:off x="4053205" y="5593715"/>
            <a:ext cx="3149600" cy="31432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技术开发一笔付款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1" name="Pentagon 123"/>
          <p:cNvSpPr/>
          <p:nvPr>
            <p:custDataLst>
              <p:tags r:id="rId44"/>
            </p:custDataLst>
          </p:nvPr>
        </p:nvSpPr>
        <p:spPr>
          <a:xfrm>
            <a:off x="10689035" y="5585052"/>
            <a:ext cx="1381695" cy="375002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测试验证剩余尾款支付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2" name="直接连接符 483"/>
          <p:cNvCxnSpPr/>
          <p:nvPr>
            <p:custDataLst>
              <p:tags r:id="rId45"/>
            </p:custDataLst>
          </p:nvPr>
        </p:nvCxnSpPr>
        <p:spPr>
          <a:xfrm>
            <a:off x="57855" y="6075700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8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entagon 123"/>
          <p:cNvSpPr/>
          <p:nvPr>
            <p:custDataLst>
              <p:tags r:id="rId46"/>
            </p:custDataLst>
          </p:nvPr>
        </p:nvSpPr>
        <p:spPr>
          <a:xfrm>
            <a:off x="2406015" y="6153785"/>
            <a:ext cx="878205" cy="3536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筛选、评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4" name="Pentagon 123"/>
          <p:cNvSpPr/>
          <p:nvPr>
            <p:custDataLst>
              <p:tags r:id="rId47"/>
            </p:custDataLst>
          </p:nvPr>
        </p:nvSpPr>
        <p:spPr>
          <a:xfrm>
            <a:off x="3284855" y="6151245"/>
            <a:ext cx="767715" cy="3536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招标、定点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5" name="Pentagon 123"/>
          <p:cNvSpPr/>
          <p:nvPr>
            <p:custDataLst>
              <p:tags r:id="rId48"/>
            </p:custDataLst>
          </p:nvPr>
        </p:nvSpPr>
        <p:spPr>
          <a:xfrm>
            <a:off x="4062730" y="6202045"/>
            <a:ext cx="8020685" cy="2768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过项目管理制度（周总结、阶段性汇报、项目问题对接会）管理供应商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71" name="直接连接符 222"/>
          <p:cNvCxnSpPr/>
          <p:nvPr>
            <p:custDataLst>
              <p:tags r:id="rId49"/>
            </p:custDataLst>
          </p:nvPr>
        </p:nvCxnSpPr>
        <p:spPr>
          <a:xfrm flipH="1">
            <a:off x="10715525" y="753919"/>
            <a:ext cx="11290" cy="5843240"/>
          </a:xfrm>
          <a:prstGeom prst="line">
            <a:avLst/>
          </a:prstGeom>
          <a:ln w="3175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222"/>
          <p:cNvCxnSpPr/>
          <p:nvPr>
            <p:custDataLst>
              <p:tags r:id="rId50"/>
            </p:custDataLst>
          </p:nvPr>
        </p:nvCxnSpPr>
        <p:spPr>
          <a:xfrm flipH="1">
            <a:off x="7210235" y="734362"/>
            <a:ext cx="11290" cy="5843240"/>
          </a:xfrm>
          <a:prstGeom prst="line">
            <a:avLst/>
          </a:prstGeom>
          <a:ln w="3175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222"/>
          <p:cNvCxnSpPr/>
          <p:nvPr>
            <p:custDataLst>
              <p:tags r:id="rId51"/>
            </p:custDataLst>
          </p:nvPr>
        </p:nvCxnSpPr>
        <p:spPr>
          <a:xfrm flipH="1">
            <a:off x="4042228" y="731485"/>
            <a:ext cx="11290" cy="5843240"/>
          </a:xfrm>
          <a:prstGeom prst="line">
            <a:avLst/>
          </a:prstGeom>
          <a:ln w="3175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Pentagon 123"/>
          <p:cNvSpPr/>
          <p:nvPr>
            <p:custDataLst>
              <p:tags r:id="rId52"/>
            </p:custDataLst>
          </p:nvPr>
        </p:nvSpPr>
        <p:spPr>
          <a:xfrm>
            <a:off x="7654925" y="4956810"/>
            <a:ext cx="4403090" cy="3022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工具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应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用及总结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1" name="直接连接符 110"/>
          <p:cNvCxnSpPr/>
          <p:nvPr/>
        </p:nvCxnSpPr>
        <p:spPr>
          <a:xfrm>
            <a:off x="1951851" y="1026826"/>
            <a:ext cx="0" cy="5500678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27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1921063" y="1381986"/>
            <a:ext cx="1007808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立项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6.2.28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AutoShape 27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 flipV="1">
            <a:off x="2290599" y="1264267"/>
            <a:ext cx="234950" cy="101600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6350">
            <a:solidFill>
              <a:schemeClr val="accent1"/>
            </a:solidFill>
            <a:miter lim="800000"/>
          </a:ln>
          <a:effectLst/>
        </p:spPr>
        <p:txBody>
          <a:bodyPr wrap="none" lIns="71120" tIns="71120" rIns="71120" bIns="71120" anchor="ctr"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Pentagon 123"/>
          <p:cNvSpPr/>
          <p:nvPr>
            <p:custDataLst>
              <p:tags r:id="rId55"/>
            </p:custDataLst>
          </p:nvPr>
        </p:nvSpPr>
        <p:spPr>
          <a:xfrm>
            <a:off x="11022330" y="3852545"/>
            <a:ext cx="1089025" cy="5264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车交付</a:t>
            </a:r>
            <a:endParaRPr lang="en-US" alt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车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试</a:t>
            </a:r>
            <a:endParaRPr lang="zh-CN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Pentagon 123"/>
          <p:cNvSpPr/>
          <p:nvPr>
            <p:custDataLst>
              <p:tags r:id="rId56"/>
            </p:custDataLst>
          </p:nvPr>
        </p:nvSpPr>
        <p:spPr>
          <a:xfrm>
            <a:off x="7221220" y="5602605"/>
            <a:ext cx="3443605" cy="31432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技术开发及设备台架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二次付款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Pentagon 123"/>
          <p:cNvSpPr/>
          <p:nvPr>
            <p:custDataLst>
              <p:tags r:id="rId57"/>
            </p:custDataLst>
          </p:nvPr>
        </p:nvSpPr>
        <p:spPr>
          <a:xfrm>
            <a:off x="4116070" y="2075815"/>
            <a:ext cx="1095375" cy="32131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详细设计确定</a:t>
            </a:r>
            <a:endParaRPr lang="zh-CN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Pentagon 123"/>
          <p:cNvSpPr/>
          <p:nvPr>
            <p:custDataLst>
              <p:tags r:id="rId58"/>
            </p:custDataLst>
          </p:nvPr>
        </p:nvSpPr>
        <p:spPr>
          <a:xfrm>
            <a:off x="6765290" y="2762885"/>
            <a:ext cx="1110615" cy="27432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讯仿真</a:t>
            </a:r>
            <a:endParaRPr 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标题 1"/>
          <p:cNvSpPr/>
          <p:nvPr/>
        </p:nvSpPr>
        <p:spPr>
          <a:xfrm>
            <a:off x="228600" y="68521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>
                <a:sym typeface="+mn-ea"/>
              </a:rPr>
              <a:t>项目计划</a:t>
            </a:r>
            <a:endParaRPr lang="zh-CN"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 rot="21120000">
            <a:off x="5038090" y="2508885"/>
            <a:ext cx="5097780" cy="543560"/>
          </a:xfrm>
          <a:prstGeom prst="rect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71442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项目投资</a:t>
            </a:r>
            <a:endParaRPr lang="zh-CN" altLang="en-US">
              <a:sym typeface="+mn-ea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334645" y="849630"/>
          <a:ext cx="11551920" cy="5409565"/>
        </p:xfrm>
        <a:graphic>
          <a:graphicData uri="http://schemas.openxmlformats.org/drawingml/2006/table">
            <a:tbl>
              <a:tblPr/>
              <a:tblGrid>
                <a:gridCol w="908050"/>
                <a:gridCol w="3004185"/>
                <a:gridCol w="2388235"/>
                <a:gridCol w="1633220"/>
                <a:gridCol w="3618230"/>
              </a:tblGrid>
              <a:tr h="223520">
                <a:tc gridSpan="5">
                  <a:txBody>
                    <a:bodyPr/>
                    <a:p>
                      <a:pPr algn="ctr" fontAlgn="ctr"/>
                      <a:r>
                        <a:rPr lang="zh-CN" altLang="en-US" sz="16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项目预算表</a:t>
                      </a:r>
                      <a:endParaRPr lang="zh-CN" altLang="en-US" sz="1600" b="1" i="0">
                        <a:solidFill>
                          <a:schemeClr val="bg1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hMerge="1"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hMerge="1"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hMerge="1"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</a:tr>
              <a:tr h="226695">
                <a:tc>
                  <a:txBody>
                    <a:bodyPr/>
                    <a:p>
                      <a:pPr algn="ctr" fontAlgn="ctr"/>
                      <a:r>
                        <a:rPr lang="zh-CN" altLang="en-US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序号</a:t>
                      </a:r>
                      <a:endParaRPr lang="zh-CN" altLang="en-US" sz="1400" b="1" i="0">
                        <a:solidFill>
                          <a:schemeClr val="bg1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费用类别</a:t>
                      </a:r>
                      <a:endParaRPr lang="zh-CN" altLang="en-US" sz="1400" b="1" i="0">
                        <a:solidFill>
                          <a:schemeClr val="bg1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预算金额（万元）</a:t>
                      </a:r>
                      <a:endParaRPr lang="zh-CN" altLang="en-US" sz="1400" b="1" i="0">
                        <a:solidFill>
                          <a:schemeClr val="bg1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占比（</a:t>
                      </a:r>
                      <a:r>
                        <a:rPr lang="en-US" altLang="zh-CN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%</a:t>
                      </a:r>
                      <a:r>
                        <a:rPr lang="zh-CN" altLang="en-US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）</a:t>
                      </a:r>
                      <a:endParaRPr lang="zh-CN" altLang="en-US" sz="1400" b="1" i="0">
                        <a:solidFill>
                          <a:schemeClr val="bg1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  <a:cs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说明</a:t>
                      </a:r>
                      <a:r>
                        <a:rPr lang="en-US" altLang="zh-CN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/</a:t>
                      </a:r>
                      <a:r>
                        <a:rPr lang="zh-CN" altLang="en-US" sz="1400" b="1" i="0">
                          <a:solidFill>
                            <a:schemeClr val="bg1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备注</a:t>
                      </a:r>
                      <a:endParaRPr lang="zh-CN" altLang="en-US" sz="1400" b="1" i="0">
                        <a:solidFill>
                          <a:schemeClr val="bg1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  <a:cs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36575">
                <a:tc>
                  <a:txBody>
                    <a:bodyPr/>
                    <a:p>
                      <a:pPr algn="ctr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1</a:t>
                      </a:r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材料费（含样件、样机、样车等）</a:t>
                      </a:r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  <a:cs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  <a:cs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45490">
                <a:tc>
                  <a:txBody>
                    <a:bodyPr/>
                    <a:p>
                      <a:pPr algn="ctr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2</a:t>
                      </a:r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测试验证费</a:t>
                      </a:r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3240">
                <a:tc>
                  <a:txBody>
                    <a:bodyPr/>
                    <a:p>
                      <a:pPr algn="ctr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3</a:t>
                      </a:r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专家咨询费及知识产权费</a:t>
                      </a:r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3875">
                <a:tc>
                  <a:txBody>
                    <a:bodyPr/>
                    <a:p>
                      <a:pPr algn="ctr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4</a:t>
                      </a:r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差旅费</a:t>
                      </a:r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2605">
                <a:tc>
                  <a:txBody>
                    <a:bodyPr/>
                    <a:p>
                      <a:pPr algn="ctr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5</a:t>
                      </a:r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人工费（人力及绩效）</a:t>
                      </a:r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3875">
                <a:tc>
                  <a:txBody>
                    <a:bodyPr/>
                    <a:p>
                      <a:pPr algn="ctr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6</a:t>
                      </a:r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其他费用（含管理费等）</a:t>
                      </a:r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3875">
                <a:tc>
                  <a:txBody>
                    <a:bodyPr/>
                    <a:p>
                      <a:pPr algn="ctr" fontAlgn="ctr"/>
                      <a:r>
                        <a:rPr lang="zh-CN" altLang="en-US" sz="1400" b="1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合计</a:t>
                      </a:r>
                      <a:endParaRPr lang="zh-CN" altLang="en-US" sz="1400" b="1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1400" b="1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</a:rPr>
                        <a:t>——</a:t>
                      </a:r>
                      <a:endParaRPr lang="en-US" altLang="zh-CN" sz="1400" b="1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1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1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algn="ctr" fontAlgn="ctr"/>
                      <a:endParaRPr lang="en-US" altLang="zh-CN" sz="1400" b="1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6575">
                <a:tc gridSpan="5">
                  <a:txBody>
                    <a:bodyPr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注意事项：</a:t>
                      </a:r>
                      <a:b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</a:b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1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每项需附计算依据（如单价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×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数量）及市场询价说明；</a:t>
                      </a:r>
                      <a:b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</a:b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2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微软雅黑 Light" panose="020B0502040204020203" charset="-122"/>
                          <a:ea typeface="微软雅黑 Light" panose="020B0502040204020203" charset="-122"/>
                          <a:cs typeface="微软雅黑 Light" panose="020B0502040204020203" charset="-122"/>
                        </a:rPr>
                        <a:t>项目结题验收时提供财务凭证；</a:t>
                      </a:r>
                      <a:endParaRPr lang="zh-CN" altLang="en-US" sz="1400" b="0" i="0">
                        <a:solidFill>
                          <a:srgbClr val="000000"/>
                        </a:solidFill>
                        <a:latin typeface="微软雅黑 Light" panose="020B0502040204020203" charset="-122"/>
                        <a:ea typeface="微软雅黑 Light" panose="020B0502040204020203" charset="-122"/>
                        <a:cs typeface="微软雅黑 Light" panose="020B0502040204020203" charset="-122"/>
                      </a:endParaRPr>
                    </a:p>
                  </a:txBody>
                  <a:tcPr marL="6667" marR="6667" marT="6667" marB="0" anchor="ctr" anchorCtr="0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cPr>
                    <a:lnR>
                      <a:noFill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矩形 3"/>
          <p:cNvSpPr>
            <a:spLocks noChangeArrowheads="1"/>
          </p:cNvSpPr>
          <p:nvPr/>
        </p:nvSpPr>
        <p:spPr bwMode="auto">
          <a:xfrm>
            <a:off x="379491" y="2684777"/>
            <a:ext cx="11812509" cy="8991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68580" tIns="34290" rIns="68580" bIns="34290" anchor="ctr">
            <a:spAutoFit/>
          </a:bodyPr>
          <a:lstStyle/>
          <a:p>
            <a:pPr algn="ctr" defTabSz="685800">
              <a:lnSpc>
                <a:spcPct val="150000"/>
              </a:lnSpc>
              <a:spcAft>
                <a:spcPts val="450"/>
              </a:spcAft>
              <a:defRPr/>
            </a:pPr>
            <a:r>
              <a:rPr lang="zh-CN" altLang="en-US" sz="3600" b="1" dirty="0" smtClean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请指正！</a:t>
            </a:r>
            <a:endParaRPr lang="en-US" altLang="zh-CN" sz="36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ABLE_ENDDRAG_ORIGIN_RECT" val="576*134"/>
  <p:tag name="TABLE_ENDDRAG_RECT" val="204*304*576*134"/>
</p:tagLst>
</file>

<file path=ppt/tags/tag10.xml><?xml version="1.0" encoding="utf-8"?>
<p:tagLst xmlns:p="http://schemas.openxmlformats.org/presentationml/2006/main">
  <p:tag name="THINKCELLSHAPEDONOTDELETE" val="pTitQ_c1L2UG7Ffxa0PAoZA"/>
</p:tagLst>
</file>

<file path=ppt/tags/tag11.xml><?xml version="1.0" encoding="utf-8"?>
<p:tagLst xmlns:p="http://schemas.openxmlformats.org/presentationml/2006/main">
  <p:tag name="THINKCELLSHAPEDONOTDELETE" val="pmLSdQ6BYAEu0iVG50OR_ww"/>
</p:tagLst>
</file>

<file path=ppt/tags/tag12.xml><?xml version="1.0" encoding="utf-8"?>
<p:tagLst xmlns:p="http://schemas.openxmlformats.org/presentationml/2006/main">
  <p:tag name="THINKCELLSHAPEDONOTDELETE" val="pHDUtOJIH50atNl8netGAMg"/>
</p:tagLst>
</file>

<file path=ppt/tags/tag13.xml><?xml version="1.0" encoding="utf-8"?>
<p:tagLst xmlns:p="http://schemas.openxmlformats.org/presentationml/2006/main">
  <p:tag name="THINKCELLSHAPEDONOTDELETE" val="ptNW9hB5CsEyl0N1edDA6Zg"/>
</p:tagLst>
</file>

<file path=ppt/tags/tag14.xml><?xml version="1.0" encoding="utf-8"?>
<p:tagLst xmlns:p="http://schemas.openxmlformats.org/presentationml/2006/main">
  <p:tag name="THINKCELLSHAPEDONOTDELETE" val="pnaG7kckEAkq5QECkaDvqCQ"/>
</p:tagLst>
</file>

<file path=ppt/tags/tag15.xml><?xml version="1.0" encoding="utf-8"?>
<p:tagLst xmlns:p="http://schemas.openxmlformats.org/presentationml/2006/main">
  <p:tag name="THINKCELLSHAPEDONOTDELETE" val="ptNW9hB5CsEyl0N1edDA6Zg"/>
</p:tagLst>
</file>

<file path=ppt/tags/tag16.xml><?xml version="1.0" encoding="utf-8"?>
<p:tagLst xmlns:p="http://schemas.openxmlformats.org/presentationml/2006/main">
  <p:tag name="THINKCELLSHAPEDONOTDELETE" val="pnaG7kckEAkq5QECkaDvqCQ"/>
</p:tagLst>
</file>

<file path=ppt/tags/tag17.xml><?xml version="1.0" encoding="utf-8"?>
<p:tagLst xmlns:p="http://schemas.openxmlformats.org/presentationml/2006/main">
  <p:tag name="THINKCELLSHAPEDONOTDELETE" val="p5XFtJqunJEyOKC3lZ0r74g"/>
</p:tagLst>
</file>

<file path=ppt/tags/tag18.xml><?xml version="1.0" encoding="utf-8"?>
<p:tagLst xmlns:p="http://schemas.openxmlformats.org/presentationml/2006/main">
  <p:tag name="THINKCELLSHAPEDONOTDELETE" val="p6k0HpedsQEimb_9_SLDvMg"/>
</p:tagLst>
</file>

<file path=ppt/tags/tag19.xml><?xml version="1.0" encoding="utf-8"?>
<p:tagLst xmlns:p="http://schemas.openxmlformats.org/presentationml/2006/main">
  <p:tag name="THINKCELLSHAPEDONOTDELETE" val="pv81Po2v5akGJBnScKO4eOQ"/>
</p:tagLst>
</file>

<file path=ppt/tags/tag2.xml><?xml version="1.0" encoding="utf-8"?>
<p:tagLst xmlns:p="http://schemas.openxmlformats.org/presentationml/2006/main">
  <p:tag name="TABLE_ENDDRAG_ORIGIN_RECT" val="915*429"/>
  <p:tag name="TABLE_ENDDRAG_RECT" val="25*87*915*429"/>
</p:tagLst>
</file>

<file path=ppt/tags/tag20.xml><?xml version="1.0" encoding="utf-8"?>
<p:tagLst xmlns:p="http://schemas.openxmlformats.org/presentationml/2006/main">
  <p:tag name="THINKCELLSHAPEDONOTDELETE" val="p5XFtJqunJEyOKC3lZ0r74g"/>
</p:tagLst>
</file>

<file path=ppt/tags/tag21.xml><?xml version="1.0" encoding="utf-8"?>
<p:tagLst xmlns:p="http://schemas.openxmlformats.org/presentationml/2006/main">
  <p:tag name="THINKCELLSHAPEDONOTDELETE" val="p75KnjRdBL0SR3o37AsB_GA"/>
</p:tagLst>
</file>

<file path=ppt/tags/tag22.xml><?xml version="1.0" encoding="utf-8"?>
<p:tagLst xmlns:p="http://schemas.openxmlformats.org/presentationml/2006/main">
  <p:tag name="THINKCELLSHAPEDONOTDELETE" val="p75KnjRdBL0SR3o37AsB_GA"/>
</p:tagLst>
</file>

<file path=ppt/tags/tag23.xml><?xml version="1.0" encoding="utf-8"?>
<p:tagLst xmlns:p="http://schemas.openxmlformats.org/presentationml/2006/main">
  <p:tag name="THINKCELLSHAPEDONOTDELETE" val="p75KnjRdBL0SR3o37AsB_GA"/>
</p:tagLst>
</file>

<file path=ppt/tags/tag24.xml><?xml version="1.0" encoding="utf-8"?>
<p:tagLst xmlns:p="http://schemas.openxmlformats.org/presentationml/2006/main">
  <p:tag name="THINKCELLSHAPEDONOTDELETE" val="p75KnjRdBL0SR3o37AsB_GA"/>
</p:tagLst>
</file>

<file path=ppt/tags/tag25.xml><?xml version="1.0" encoding="utf-8"?>
<p:tagLst xmlns:p="http://schemas.openxmlformats.org/presentationml/2006/main">
  <p:tag name="THINKCELLSHAPEDONOTDELETE" val="p75KnjRdBL0SR3o37AsB_GA"/>
</p:tagLst>
</file>

<file path=ppt/tags/tag26.xml><?xml version="1.0" encoding="utf-8"?>
<p:tagLst xmlns:p="http://schemas.openxmlformats.org/presentationml/2006/main">
  <p:tag name="THINKCELLSHAPEDONOTDELETE" val="p75KnjRdBL0SR3o37AsB_GA"/>
</p:tagLst>
</file>

<file path=ppt/tags/tag27.xml><?xml version="1.0" encoding="utf-8"?>
<p:tagLst xmlns:p="http://schemas.openxmlformats.org/presentationml/2006/main">
  <p:tag name="THINKCELLSHAPEDONOTDELETE" val="p75KnjRdBL0SR3o37AsB_GA"/>
</p:tagLst>
</file>

<file path=ppt/tags/tag28.xml><?xml version="1.0" encoding="utf-8"?>
<p:tagLst xmlns:p="http://schemas.openxmlformats.org/presentationml/2006/main">
  <p:tag name="THINKCELLSHAPEDONOTDELETE" val="p75KnjRdBL0SR3o37AsB_GA"/>
</p:tagLst>
</file>

<file path=ppt/tags/tag29.xml><?xml version="1.0" encoding="utf-8"?>
<p:tagLst xmlns:p="http://schemas.openxmlformats.org/presentationml/2006/main">
  <p:tag name="THINKCELLSHAPEDONOTDELETE" val="p75KnjRdBL0SR3o37AsB_GA"/>
</p:tagLst>
</file>

<file path=ppt/tags/tag3.xml><?xml version="1.0" encoding="utf-8"?>
<p:tagLst xmlns:p="http://schemas.openxmlformats.org/presentationml/2006/main">
  <p:tag name="TABLE_ENDDRAG_ORIGIN_RECT" val="845*394"/>
  <p:tag name="TABLE_ENDDRAG_RECT" val="55*85*845*394"/>
</p:tagLst>
</file>

<file path=ppt/tags/tag30.xml><?xml version="1.0" encoding="utf-8"?>
<p:tagLst xmlns:p="http://schemas.openxmlformats.org/presentationml/2006/main">
  <p:tag name="THINKCELLSHAPEDONOTDELETE" val="p75KnjRdBL0SR3o37AsB_GA"/>
</p:tagLst>
</file>

<file path=ppt/tags/tag31.xml><?xml version="1.0" encoding="utf-8"?>
<p:tagLst xmlns:p="http://schemas.openxmlformats.org/presentationml/2006/main">
  <p:tag name="THINKCELLSHAPEDONOTDELETE" val="p75KnjRdBL0SR3o37AsB_GA"/>
</p:tagLst>
</file>

<file path=ppt/tags/tag32.xml><?xml version="1.0" encoding="utf-8"?>
<p:tagLst xmlns:p="http://schemas.openxmlformats.org/presentationml/2006/main">
  <p:tag name="THINKCELLSHAPEDONOTDELETE" val="pUQb2ev2knUagWssUpvLCUg"/>
</p:tagLst>
</file>

<file path=ppt/tags/tag33.xml><?xml version="1.0" encoding="utf-8"?>
<p:tagLst xmlns:p="http://schemas.openxmlformats.org/presentationml/2006/main">
  <p:tag name="THINKCELLSHAPEDONOTDELETE" val="pUQb2ev2knUagWssUpvLCUg"/>
</p:tagLst>
</file>

<file path=ppt/tags/tag34.xml><?xml version="1.0" encoding="utf-8"?>
<p:tagLst xmlns:p="http://schemas.openxmlformats.org/presentationml/2006/main">
  <p:tag name="THINKCELLSHAPEDONOTDELETE" val="pY.BG.vyPOEq.PerB43AgaQ"/>
</p:tagLst>
</file>

<file path=ppt/tags/tag35.xml><?xml version="1.0" encoding="utf-8"?>
<p:tagLst xmlns:p="http://schemas.openxmlformats.org/presentationml/2006/main">
  <p:tag name="THINKCELLSHAPEDONOTDELETE" val="pY.BG.vyPOEq.PerB43AgaQ"/>
</p:tagLst>
</file>

<file path=ppt/tags/tag36.xml><?xml version="1.0" encoding="utf-8"?>
<p:tagLst xmlns:p="http://schemas.openxmlformats.org/presentationml/2006/main">
  <p:tag name="THINKCELLSHAPEDONOTDELETE" val="pY.BG.vyPOEq.PerB43AgaQ"/>
</p:tagLst>
</file>

<file path=ppt/tags/tag37.xml><?xml version="1.0" encoding="utf-8"?>
<p:tagLst xmlns:p="http://schemas.openxmlformats.org/presentationml/2006/main">
  <p:tag name="THINKCELLSHAPEDONOTDELETE" val="pY.BG.vyPOEq.PerB43AgaQ"/>
</p:tagLst>
</file>

<file path=ppt/tags/tag38.xml><?xml version="1.0" encoding="utf-8"?>
<p:tagLst xmlns:p="http://schemas.openxmlformats.org/presentationml/2006/main">
  <p:tag name="THINKCELLSHAPEDONOTDELETE" val="pY.BG.vyPOEq.PerB43AgaQ"/>
</p:tagLst>
</file>

<file path=ppt/tags/tag39.xml><?xml version="1.0" encoding="utf-8"?>
<p:tagLst xmlns:p="http://schemas.openxmlformats.org/presentationml/2006/main">
  <p:tag name="THINKCELLSHAPEDONOTDELETE" val="p75KnjRdBL0SR3o37AsB_GA"/>
</p:tagLst>
</file>

<file path=ppt/tags/tag4.xml><?xml version="1.0" encoding="utf-8"?>
<p:tagLst xmlns:p="http://schemas.openxmlformats.org/presentationml/2006/main">
  <p:tag name="TABLE_ENDDRAG_ORIGIN_RECT" val="655*270"/>
  <p:tag name="TABLE_ENDDRAG_RECT" val="152*217*655*270"/>
</p:tagLst>
</file>

<file path=ppt/tags/tag40.xml><?xml version="1.0" encoding="utf-8"?>
<p:tagLst xmlns:p="http://schemas.openxmlformats.org/presentationml/2006/main">
  <p:tag name="THINKCELLSHAPEDONOTDELETE" val="p75KnjRdBL0SR3o37AsB_GA"/>
</p:tagLst>
</file>

<file path=ppt/tags/tag41.xml><?xml version="1.0" encoding="utf-8"?>
<p:tagLst xmlns:p="http://schemas.openxmlformats.org/presentationml/2006/main">
  <p:tag name="THINKCELLSHAPEDONOTDELETE" val="p75KnjRdBL0SR3o37AsB_GA"/>
</p:tagLst>
</file>

<file path=ppt/tags/tag42.xml><?xml version="1.0" encoding="utf-8"?>
<p:tagLst xmlns:p="http://schemas.openxmlformats.org/presentationml/2006/main">
  <p:tag name="THINKCELLSHAPEDONOTDELETE" val="pYl0BHfxzYEavgboAgG5kyA"/>
</p:tagLst>
</file>

<file path=ppt/tags/tag43.xml><?xml version="1.0" encoding="utf-8"?>
<p:tagLst xmlns:p="http://schemas.openxmlformats.org/presentationml/2006/main">
  <p:tag name="THINKCELLSHAPEDONOTDELETE" val="p75KnjRdBL0SR3o37AsB_GA"/>
</p:tagLst>
</file>

<file path=ppt/tags/tag44.xml><?xml version="1.0" encoding="utf-8"?>
<p:tagLst xmlns:p="http://schemas.openxmlformats.org/presentationml/2006/main">
  <p:tag name="THINKCELLSHAPEDONOTDELETE" val="pYl0BHfxzYEavgboAgG5kyA"/>
</p:tagLst>
</file>

<file path=ppt/tags/tag45.xml><?xml version="1.0" encoding="utf-8"?>
<p:tagLst xmlns:p="http://schemas.openxmlformats.org/presentationml/2006/main">
  <p:tag name="THINKCELLSHAPEDONOTDELETE" val="p75KnjRdBL0SR3o37AsB_GA"/>
</p:tagLst>
</file>

<file path=ppt/tags/tag46.xml><?xml version="1.0" encoding="utf-8"?>
<p:tagLst xmlns:p="http://schemas.openxmlformats.org/presentationml/2006/main">
  <p:tag name="THINKCELLSHAPEDONOTDELETE" val="p75KnjRdBL0SR3o37AsB_GA"/>
</p:tagLst>
</file>

<file path=ppt/tags/tag47.xml><?xml version="1.0" encoding="utf-8"?>
<p:tagLst xmlns:p="http://schemas.openxmlformats.org/presentationml/2006/main">
  <p:tag name="THINKCELLSHAPEDONOTDELETE" val="p75KnjRdBL0SR3o37AsB_GA"/>
</p:tagLst>
</file>

<file path=ppt/tags/tag48.xml><?xml version="1.0" encoding="utf-8"?>
<p:tagLst xmlns:p="http://schemas.openxmlformats.org/presentationml/2006/main">
  <p:tag name="THINKCELLSHAPEDONOTDELETE" val="pYl0BHfxzYEavgboAgG5kyA"/>
</p:tagLst>
</file>

<file path=ppt/tags/tag49.xml><?xml version="1.0" encoding="utf-8"?>
<p:tagLst xmlns:p="http://schemas.openxmlformats.org/presentationml/2006/main">
  <p:tag name="THINKCELLSHAPEDONOTDELETE" val="p75KnjRdBL0SR3o37AsB_G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p75KnjRdBL0SR3o37AsB_GA"/>
</p:tagLst>
</file>

<file path=ppt/tags/tag51.xml><?xml version="1.0" encoding="utf-8"?>
<p:tagLst xmlns:p="http://schemas.openxmlformats.org/presentationml/2006/main">
  <p:tag name="THINKCELLSHAPEDONOTDELETE" val="p75KnjRdBL0SR3o37AsB_GA"/>
</p:tagLst>
</file>

<file path=ppt/tags/tag52.xml><?xml version="1.0" encoding="utf-8"?>
<p:tagLst xmlns:p="http://schemas.openxmlformats.org/presentationml/2006/main">
  <p:tag name="THINKCELLSHAPEDONOTDELETE" val="pTitQ_c1L2UG7Ffxa0PAoZA"/>
</p:tagLst>
</file>

<file path=ppt/tags/tag53.xml><?xml version="1.0" encoding="utf-8"?>
<p:tagLst xmlns:p="http://schemas.openxmlformats.org/presentationml/2006/main">
  <p:tag name="THINKCELLSHAPEDONOTDELETE" val="pTitQ_c1L2UG7Ffxa0PAoZA"/>
</p:tagLst>
</file>

<file path=ppt/tags/tag54.xml><?xml version="1.0" encoding="utf-8"?>
<p:tagLst xmlns:p="http://schemas.openxmlformats.org/presentationml/2006/main">
  <p:tag name="THINKCELLSHAPEDONOTDELETE" val="pTitQ_c1L2UG7Ffxa0PAoZA"/>
</p:tagLst>
</file>

<file path=ppt/tags/tag55.xml><?xml version="1.0" encoding="utf-8"?>
<p:tagLst xmlns:p="http://schemas.openxmlformats.org/presentationml/2006/main">
  <p:tag name="THINKCELLSHAPEDONOTDELETE" val="p75KnjRdBL0SR3o37AsB_GA"/>
</p:tagLst>
</file>

<file path=ppt/tags/tag56.xml><?xml version="1.0" encoding="utf-8"?>
<p:tagLst xmlns:p="http://schemas.openxmlformats.org/presentationml/2006/main">
  <p:tag name="THINKCELLSHAPEDONOTDELETE" val="ptNW9hB5CsEyl0N1edDA6Zg"/>
</p:tagLst>
</file>

<file path=ppt/tags/tag57.xml><?xml version="1.0" encoding="utf-8"?>
<p:tagLst xmlns:p="http://schemas.openxmlformats.org/presentationml/2006/main">
  <p:tag name="THINKCELLSHAPEDONOTDELETE" val="pnaG7kckEAkq5QECkaDvqCQ"/>
</p:tagLst>
</file>

<file path=ppt/tags/tag58.xml><?xml version="1.0" encoding="utf-8"?>
<p:tagLst xmlns:p="http://schemas.openxmlformats.org/presentationml/2006/main">
  <p:tag name="THINKCELLSHAPEDONOTDELETE" val="p75KnjRdBL0SR3o37AsB_GA"/>
</p:tagLst>
</file>

<file path=ppt/tags/tag59.xml><?xml version="1.0" encoding="utf-8"?>
<p:tagLst xmlns:p="http://schemas.openxmlformats.org/presentationml/2006/main">
  <p:tag name="THINKCELLSHAPEDONOTDELETE" val="p75KnjRdBL0SR3o37AsB_GA"/>
</p:tagLst>
</file>

<file path=ppt/tags/tag6.xml><?xml version="1.0" encoding="utf-8"?>
<p:tagLst xmlns:p="http://schemas.openxmlformats.org/presentationml/2006/main">
  <p:tag name="THINKCELLSHAPEDONOTDELETE" val="pDt4k04HGeUyGI.yU7OsDgw"/>
</p:tagLst>
</file>

<file path=ppt/tags/tag60.xml><?xml version="1.0" encoding="utf-8"?>
<p:tagLst xmlns:p="http://schemas.openxmlformats.org/presentationml/2006/main">
  <p:tag name="THINKCELLSHAPEDONOTDELETE" val="p75KnjRdBL0SR3o37AsB_GA"/>
</p:tagLst>
</file>

<file path=ppt/tags/tag61.xml><?xml version="1.0" encoding="utf-8"?>
<p:tagLst xmlns:p="http://schemas.openxmlformats.org/presentationml/2006/main">
  <p:tag name="THINKCELLSHAPEDONOTDELETE" val="p75KnjRdBL0SR3o37AsB_GA"/>
</p:tagLst>
</file>

<file path=ppt/tags/tag62.xml><?xml version="1.0" encoding="utf-8"?>
<p:tagLst xmlns:p="http://schemas.openxmlformats.org/presentationml/2006/main">
  <p:tag name="TABLE_ENDDRAG_ORIGIN_RECT" val="909*425"/>
  <p:tag name="TABLE_ENDDRAG_RECT" val="26*66*909*425"/>
</p:tagLst>
</file>

<file path=ppt/tags/tag7.xml><?xml version="1.0" encoding="utf-8"?>
<p:tagLst xmlns:p="http://schemas.openxmlformats.org/presentationml/2006/main">
  <p:tag name="THINKCELLSHAPEDONOTDELETE" val="pAaE_0nFZU02lEeTZ.Fjv9w"/>
</p:tagLst>
</file>

<file path=ppt/tags/tag8.xml><?xml version="1.0" encoding="utf-8"?>
<p:tagLst xmlns:p="http://schemas.openxmlformats.org/presentationml/2006/main">
  <p:tag name="THINKCELLSHAPEDONOTDELETE" val="pmLSdQ6BYAEu0iVG50OR_ww"/>
</p:tagLst>
</file>

<file path=ppt/tags/tag9.xml><?xml version="1.0" encoding="utf-8"?>
<p:tagLst xmlns:p="http://schemas.openxmlformats.org/presentationml/2006/main">
  <p:tag name="THINKCELLSHAPEDONOTDELETE" val="pTitQ_c1L2UG7Ffxa0PAoZA"/>
</p:tagLst>
</file>

<file path=ppt/theme/theme1.xml><?xml version="1.0" encoding="utf-8"?>
<a:theme xmlns:a="http://schemas.openxmlformats.org/drawingml/2006/main" name="Office 主题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none" lIns="36000" tIns="36000" rIns="36000" bIns="36000" rtlCol="0" anchor="t" anchorCtr="0">
        <a:noAutofit/>
      </a:bodyPr>
      <a:lstStyle>
        <a:defPPr algn="ctr" defTabSz="914400">
          <a:lnSpc>
            <a:spcPct val="150000"/>
          </a:lnSpc>
          <a:spcBef>
            <a:spcPct val="0"/>
          </a:spcBef>
          <a:defRPr sz="2400" b="1" dirty="0" smtClean="0">
            <a:solidFill>
              <a:prstClr val="black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47</Words>
  <Application>WPS 演示</Application>
  <PresentationFormat>宽屏</PresentationFormat>
  <Paragraphs>457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9</vt:i4>
      </vt:variant>
    </vt:vector>
  </HeadingPairs>
  <TitlesOfParts>
    <vt:vector size="20" baseType="lpstr">
      <vt:lpstr>Arial</vt:lpstr>
      <vt:lpstr>宋体</vt:lpstr>
      <vt:lpstr>Wingdings</vt:lpstr>
      <vt:lpstr>微软雅黑</vt:lpstr>
      <vt:lpstr>华文行楷</vt:lpstr>
      <vt:lpstr>Times New Roman</vt:lpstr>
      <vt:lpstr>Arial</vt:lpstr>
      <vt:lpstr>微软雅黑 Light</vt:lpstr>
      <vt:lpstr>Arial Unicode MS</vt:lpstr>
      <vt:lpstr>Calibri</vt:lpstr>
      <vt:lpstr>Office 主题</vt:lpstr>
      <vt:lpstr>PowerPoint 演示文稿</vt:lpstr>
      <vt:lpstr>PowerPoint 演示文稿</vt:lpstr>
      <vt:lpstr>揭榜团队介绍</vt:lpstr>
      <vt:lpstr>指南指标达成情况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ston Dai</dc:creator>
  <cp:lastModifiedBy>桂萍萍</cp:lastModifiedBy>
  <cp:revision>1578</cp:revision>
  <cp:lastPrinted>2016-10-21T05:47:00Z</cp:lastPrinted>
  <dcterms:created xsi:type="dcterms:W3CDTF">2015-05-20T09:23:00Z</dcterms:created>
  <dcterms:modified xsi:type="dcterms:W3CDTF">2026-07-09T08:1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4B294A18811C432787AA1E0456AAFC3C_12</vt:lpwstr>
  </property>
  <property fmtid="{D5CDD505-2E9C-101B-9397-08002B2CF9AE}" pid="3" name="KSOProductBuildVer">
    <vt:lpwstr>2052-12.1.0.20784</vt:lpwstr>
  </property>
</Properties>
</file>